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4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274" r:id="rId3"/>
    <p:sldId id="269" r:id="rId4"/>
    <p:sldId id="258" r:id="rId5"/>
    <p:sldId id="275" r:id="rId6"/>
    <p:sldId id="276" r:id="rId7"/>
    <p:sldId id="277" r:id="rId8"/>
    <p:sldId id="270" r:id="rId9"/>
    <p:sldId id="278" r:id="rId10"/>
    <p:sldId id="280" r:id="rId11"/>
    <p:sldId id="279" r:id="rId12"/>
    <p:sldId id="281" r:id="rId13"/>
    <p:sldId id="282" r:id="rId14"/>
    <p:sldId id="284" r:id="rId15"/>
    <p:sldId id="261" r:id="rId16"/>
    <p:sldId id="271" r:id="rId17"/>
    <p:sldId id="272" r:id="rId18"/>
    <p:sldId id="273" r:id="rId19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131"/>
    <a:srgbClr val="74CCF4"/>
    <a:srgbClr val="53798C"/>
    <a:srgbClr val="356182"/>
    <a:srgbClr val="4582E6"/>
    <a:srgbClr val="001F56"/>
    <a:srgbClr val="0464FF"/>
    <a:srgbClr val="02D1FC"/>
    <a:srgbClr val="031A45"/>
    <a:srgbClr val="0274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5" autoAdjust="0"/>
    <p:restoredTop sz="94988" autoAdjust="0"/>
  </p:normalViewPr>
  <p:slideViewPr>
    <p:cSldViewPr snapToGrid="0">
      <p:cViewPr>
        <p:scale>
          <a:sx n="100" d="100"/>
          <a:sy n="100" d="100"/>
        </p:scale>
        <p:origin x="822" y="2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698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205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86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411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78DCBBB9-1BD8-472E-B3F1-958BE21F83AC}"/>
              </a:ext>
            </a:extLst>
          </p:cNvPr>
          <p:cNvSpPr/>
          <p:nvPr userDrawn="1"/>
        </p:nvSpPr>
        <p:spPr>
          <a:xfrm>
            <a:off x="-108858" y="-1072123"/>
            <a:ext cx="6096000" cy="296392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76000">
                <a:srgbClr val="0001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03514" y="1264624"/>
            <a:ext cx="4921447" cy="1918289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03517" y="3225152"/>
            <a:ext cx="4921446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03517" y="4408881"/>
            <a:ext cx="4921446" cy="25892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03514" y="4710042"/>
            <a:ext cx="4921447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0044" name="组合 10043">
            <a:extLst>
              <a:ext uri="{FF2B5EF4-FFF2-40B4-BE49-F238E27FC236}">
                <a16:creationId xmlns:a16="http://schemas.microsoft.com/office/drawing/2014/main" id="{6B7DA42A-CD54-4656-B0E0-DAE7EB8B65B9}"/>
              </a:ext>
            </a:extLst>
          </p:cNvPr>
          <p:cNvGrpSpPr/>
          <p:nvPr userDrawn="1"/>
        </p:nvGrpSpPr>
        <p:grpSpPr>
          <a:xfrm>
            <a:off x="2929793" y="121279"/>
            <a:ext cx="8711020" cy="6766372"/>
            <a:chOff x="2929793" y="92251"/>
            <a:chExt cx="8711020" cy="6766372"/>
          </a:xfrm>
        </p:grpSpPr>
        <p:sp>
          <p:nvSpPr>
            <p:cNvPr id="9892" name="任意多边形: 形状 9891">
              <a:extLst>
                <a:ext uri="{FF2B5EF4-FFF2-40B4-BE49-F238E27FC236}">
                  <a16:creationId xmlns:a16="http://schemas.microsoft.com/office/drawing/2014/main" id="{1798FFE1-E428-47B0-B571-6044AF5C63C7}"/>
                </a:ext>
              </a:extLst>
            </p:cNvPr>
            <p:cNvSpPr/>
            <p:nvPr/>
          </p:nvSpPr>
          <p:spPr>
            <a:xfrm>
              <a:off x="2929793" y="4764388"/>
              <a:ext cx="8638718" cy="2094235"/>
            </a:xfrm>
            <a:custGeom>
              <a:avLst/>
              <a:gdLst>
                <a:gd name="connsiteX0" fmla="*/ 8631862 w 8638718"/>
                <a:gd name="connsiteY0" fmla="*/ 9349 h 2094234"/>
                <a:gd name="connsiteX1" fmla="*/ 7038748 w 8638718"/>
                <a:gd name="connsiteY1" fmla="*/ 2040009 h 2094234"/>
                <a:gd name="connsiteX2" fmla="*/ 5940521 w 8638718"/>
                <a:gd name="connsiteY2" fmla="*/ 2089872 h 2094234"/>
                <a:gd name="connsiteX3" fmla="*/ 8114537 w 8638718"/>
                <a:gd name="connsiteY3" fmla="*/ 77911 h 2094234"/>
                <a:gd name="connsiteX4" fmla="*/ 7915086 w 8638718"/>
                <a:gd name="connsiteY4" fmla="*/ 92869 h 2094234"/>
                <a:gd name="connsiteX5" fmla="*/ 5448127 w 8638718"/>
                <a:gd name="connsiteY5" fmla="*/ 2026297 h 2094234"/>
                <a:gd name="connsiteX6" fmla="*/ 4263887 w 8638718"/>
                <a:gd name="connsiteY6" fmla="*/ 2026297 h 2094234"/>
                <a:gd name="connsiteX7" fmla="*/ 7875196 w 8638718"/>
                <a:gd name="connsiteY7" fmla="*/ 99102 h 2094234"/>
                <a:gd name="connsiteX8" fmla="*/ 7660786 w 8638718"/>
                <a:gd name="connsiteY8" fmla="*/ 115308 h 2094234"/>
                <a:gd name="connsiteX9" fmla="*/ 3063442 w 8638718"/>
                <a:gd name="connsiteY9" fmla="*/ 2026297 h 2094234"/>
                <a:gd name="connsiteX10" fmla="*/ 9349 w 8638718"/>
                <a:gd name="connsiteY10" fmla="*/ 1000371 h 2094234"/>
                <a:gd name="connsiteX11" fmla="*/ 7246925 w 8638718"/>
                <a:gd name="connsiteY11" fmla="*/ 9349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38718" h="2094234">
                  <a:moveTo>
                    <a:pt x="8631862" y="9349"/>
                  </a:moveTo>
                  <a:lnTo>
                    <a:pt x="7038748" y="2040009"/>
                  </a:lnTo>
                  <a:lnTo>
                    <a:pt x="5940521" y="2089872"/>
                  </a:lnTo>
                  <a:lnTo>
                    <a:pt x="8114537" y="77911"/>
                  </a:lnTo>
                  <a:lnTo>
                    <a:pt x="7915086" y="92869"/>
                  </a:lnTo>
                  <a:lnTo>
                    <a:pt x="5448127" y="2026297"/>
                  </a:lnTo>
                  <a:lnTo>
                    <a:pt x="4263887" y="2026297"/>
                  </a:lnTo>
                  <a:lnTo>
                    <a:pt x="7875196" y="99102"/>
                  </a:lnTo>
                  <a:lnTo>
                    <a:pt x="7660786" y="115308"/>
                  </a:lnTo>
                  <a:lnTo>
                    <a:pt x="3063442" y="2026297"/>
                  </a:lnTo>
                  <a:lnTo>
                    <a:pt x="9349" y="1000371"/>
                  </a:lnTo>
                  <a:lnTo>
                    <a:pt x="7246925" y="9349"/>
                  </a:ln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29000">
                  <a:schemeClr val="accent2">
                    <a:alpha val="57000"/>
                  </a:schemeClr>
                </a:gs>
                <a:gs pos="79000">
                  <a:schemeClr val="accent1">
                    <a:alpha val="0"/>
                  </a:schemeClr>
                </a:gs>
              </a:gsLst>
              <a:lin ang="6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9893" name="任意多边形: 形状 9892">
              <a:extLst>
                <a:ext uri="{FF2B5EF4-FFF2-40B4-BE49-F238E27FC236}">
                  <a16:creationId xmlns:a16="http://schemas.microsoft.com/office/drawing/2014/main" id="{E38F01BA-75B8-42DC-AF16-BAB88F0A4C48}"/>
                </a:ext>
              </a:extLst>
            </p:cNvPr>
            <p:cNvSpPr/>
            <p:nvPr/>
          </p:nvSpPr>
          <p:spPr>
            <a:xfrm>
              <a:off x="9970411" y="1595612"/>
              <a:ext cx="1670402" cy="1608073"/>
            </a:xfrm>
            <a:custGeom>
              <a:avLst/>
              <a:gdLst>
                <a:gd name="connsiteX0" fmla="*/ 1662299 w 1670401"/>
                <a:gd name="connsiteY0" fmla="*/ 805906 h 1608073"/>
                <a:gd name="connsiteX1" fmla="*/ 835825 w 1670401"/>
                <a:gd name="connsiteY1" fmla="*/ 1602463 h 1608073"/>
                <a:gd name="connsiteX2" fmla="*/ 9350 w 1670401"/>
                <a:gd name="connsiteY2" fmla="*/ 805906 h 1608073"/>
                <a:gd name="connsiteX3" fmla="*/ 835825 w 1670401"/>
                <a:gd name="connsiteY3" fmla="*/ 9349 h 1608073"/>
                <a:gd name="connsiteX4" fmla="*/ 1662299 w 1670401"/>
                <a:gd name="connsiteY4" fmla="*/ 805906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01" h="1608073">
                  <a:moveTo>
                    <a:pt x="1662299" y="805906"/>
                  </a:moveTo>
                  <a:cubicBezTo>
                    <a:pt x="1662299" y="1245833"/>
                    <a:pt x="1292274" y="1602463"/>
                    <a:pt x="835825" y="1602463"/>
                  </a:cubicBezTo>
                  <a:cubicBezTo>
                    <a:pt x="379375" y="1602463"/>
                    <a:pt x="9350" y="1245833"/>
                    <a:pt x="9350" y="805906"/>
                  </a:cubicBezTo>
                  <a:cubicBezTo>
                    <a:pt x="9350" y="365980"/>
                    <a:pt x="379375" y="9349"/>
                    <a:pt x="835825" y="9349"/>
                  </a:cubicBezTo>
                  <a:cubicBezTo>
                    <a:pt x="1292274" y="9349"/>
                    <a:pt x="1662299" y="365980"/>
                    <a:pt x="1662299" y="8059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4" name="任意多边形: 形状 9893">
              <a:extLst>
                <a:ext uri="{FF2B5EF4-FFF2-40B4-BE49-F238E27FC236}">
                  <a16:creationId xmlns:a16="http://schemas.microsoft.com/office/drawing/2014/main" id="{F812B467-ABA2-4472-8C17-446D14D9E5A6}"/>
                </a:ext>
              </a:extLst>
            </p:cNvPr>
            <p:cNvSpPr/>
            <p:nvPr/>
          </p:nvSpPr>
          <p:spPr>
            <a:xfrm>
              <a:off x="10167368" y="2678880"/>
              <a:ext cx="1396156" cy="2094235"/>
            </a:xfrm>
            <a:custGeom>
              <a:avLst/>
              <a:gdLst>
                <a:gd name="connsiteX0" fmla="*/ 9349 w 1396156"/>
                <a:gd name="connsiteY0" fmla="*/ 2094858 h 2094234"/>
                <a:gd name="connsiteX1" fmla="*/ 1394287 w 1396156"/>
                <a:gd name="connsiteY1" fmla="*/ 2094858 h 2094234"/>
                <a:gd name="connsiteX2" fmla="*/ 1162425 w 1396156"/>
                <a:gd name="connsiteY2" fmla="*/ 338443 h 2094234"/>
                <a:gd name="connsiteX3" fmla="*/ 934303 w 1396156"/>
                <a:gd name="connsiteY3" fmla="*/ 9349 h 2094234"/>
                <a:gd name="connsiteX4" fmla="*/ 329717 w 1396156"/>
                <a:gd name="connsiteY4" fmla="*/ 200074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6156" h="2094234">
                  <a:moveTo>
                    <a:pt x="9349" y="2094858"/>
                  </a:moveTo>
                  <a:lnTo>
                    <a:pt x="1394287" y="2094858"/>
                  </a:lnTo>
                  <a:lnTo>
                    <a:pt x="1162425" y="338443"/>
                  </a:lnTo>
                  <a:lnTo>
                    <a:pt x="934303" y="9349"/>
                  </a:lnTo>
                  <a:lnTo>
                    <a:pt x="329717" y="2000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5" name="任意多边形: 形状 9894">
              <a:extLst>
                <a:ext uri="{FF2B5EF4-FFF2-40B4-BE49-F238E27FC236}">
                  <a16:creationId xmlns:a16="http://schemas.microsoft.com/office/drawing/2014/main" id="{61577D87-F629-439B-99CB-27D0D8E97847}"/>
                </a:ext>
              </a:extLst>
            </p:cNvPr>
            <p:cNvSpPr/>
            <p:nvPr/>
          </p:nvSpPr>
          <p:spPr>
            <a:xfrm>
              <a:off x="9959832" y="1598461"/>
              <a:ext cx="1146843" cy="1608073"/>
            </a:xfrm>
            <a:custGeom>
              <a:avLst/>
              <a:gdLst>
                <a:gd name="connsiteX0" fmla="*/ 248050 w 1146842"/>
                <a:gd name="connsiteY0" fmla="*/ 653469 h 1608073"/>
                <a:gd name="connsiteX1" fmla="*/ 1141839 w 1146842"/>
                <a:gd name="connsiteY1" fmla="*/ 72568 h 1608073"/>
                <a:gd name="connsiteX2" fmla="*/ 1037128 w 1146842"/>
                <a:gd name="connsiteY2" fmla="*/ 37664 h 1608073"/>
                <a:gd name="connsiteX3" fmla="*/ 34887 w 1146842"/>
                <a:gd name="connsiteY3" fmla="*/ 597374 h 1608073"/>
                <a:gd name="connsiteX4" fmla="*/ 631993 w 1146842"/>
                <a:gd name="connsiteY4" fmla="*/ 1578423 h 1608073"/>
                <a:gd name="connsiteX5" fmla="*/ 740444 w 1146842"/>
                <a:gd name="connsiteY5" fmla="*/ 1599614 h 1608073"/>
                <a:gd name="connsiteX6" fmla="*/ 248050 w 1146842"/>
                <a:gd name="connsiteY6" fmla="*/ 653469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6842" h="1608073">
                  <a:moveTo>
                    <a:pt x="248050" y="653469"/>
                  </a:moveTo>
                  <a:cubicBezTo>
                    <a:pt x="350268" y="263293"/>
                    <a:pt x="736704" y="20212"/>
                    <a:pt x="1141839" y="72568"/>
                  </a:cubicBezTo>
                  <a:cubicBezTo>
                    <a:pt x="1108182" y="58856"/>
                    <a:pt x="1073278" y="46390"/>
                    <a:pt x="1037128" y="37664"/>
                  </a:cubicBezTo>
                  <a:cubicBezTo>
                    <a:pt x="595842" y="-78266"/>
                    <a:pt x="147078" y="172294"/>
                    <a:pt x="34887" y="597374"/>
                  </a:cubicBezTo>
                  <a:cubicBezTo>
                    <a:pt x="-77305" y="1022453"/>
                    <a:pt x="190708" y="1461245"/>
                    <a:pt x="631993" y="1578423"/>
                  </a:cubicBezTo>
                  <a:cubicBezTo>
                    <a:pt x="668143" y="1588395"/>
                    <a:pt x="704294" y="1594628"/>
                    <a:pt x="740444" y="1599614"/>
                  </a:cubicBezTo>
                  <a:cubicBezTo>
                    <a:pt x="362734" y="1445040"/>
                    <a:pt x="145832" y="1043645"/>
                    <a:pt x="248050" y="653469"/>
                  </a:cubicBez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6" name="任意多边形: 形状 9895">
              <a:extLst>
                <a:ext uri="{FF2B5EF4-FFF2-40B4-BE49-F238E27FC236}">
                  <a16:creationId xmlns:a16="http://schemas.microsoft.com/office/drawing/2014/main" id="{6C01CCA9-A344-4A88-A5A6-48345BF4F9D4}"/>
                </a:ext>
              </a:extLst>
            </p:cNvPr>
            <p:cNvSpPr/>
            <p:nvPr/>
          </p:nvSpPr>
          <p:spPr>
            <a:xfrm>
              <a:off x="10167368" y="3106453"/>
              <a:ext cx="536024" cy="1670401"/>
            </a:xfrm>
            <a:custGeom>
              <a:avLst/>
              <a:gdLst>
                <a:gd name="connsiteX0" fmla="*/ 532908 w 536024"/>
                <a:gd name="connsiteY0" fmla="*/ 90376 h 1670401"/>
                <a:gd name="connsiteX1" fmla="*/ 337197 w 536024"/>
                <a:gd name="connsiteY1" fmla="*/ 1667285 h 1670401"/>
                <a:gd name="connsiteX2" fmla="*/ 9349 w 536024"/>
                <a:gd name="connsiteY2" fmla="*/ 1667285 h 1670401"/>
                <a:gd name="connsiteX3" fmla="*/ 271129 w 536024"/>
                <a:gd name="connsiteY3" fmla="*/ 9349 h 167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6024" h="1670401">
                  <a:moveTo>
                    <a:pt x="532908" y="90376"/>
                  </a:moveTo>
                  <a:lnTo>
                    <a:pt x="337197" y="1667285"/>
                  </a:lnTo>
                  <a:lnTo>
                    <a:pt x="9349" y="1667285"/>
                  </a:lnTo>
                  <a:lnTo>
                    <a:pt x="271129" y="934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7" name="任意多边形: 形状 9896">
              <a:extLst>
                <a:ext uri="{FF2B5EF4-FFF2-40B4-BE49-F238E27FC236}">
                  <a16:creationId xmlns:a16="http://schemas.microsoft.com/office/drawing/2014/main" id="{F2650A3A-59B9-472B-8E2E-C7FCEC0FF145}"/>
                </a:ext>
              </a:extLst>
            </p:cNvPr>
            <p:cNvSpPr/>
            <p:nvPr/>
          </p:nvSpPr>
          <p:spPr>
            <a:xfrm>
              <a:off x="10409203" y="3106453"/>
              <a:ext cx="311642" cy="137123"/>
            </a:xfrm>
            <a:custGeom>
              <a:avLst/>
              <a:gdLst>
                <a:gd name="connsiteX0" fmla="*/ 29294 w 311642"/>
                <a:gd name="connsiteY0" fmla="*/ 9349 h 137122"/>
                <a:gd name="connsiteX1" fmla="*/ 308526 w 311642"/>
                <a:gd name="connsiteY1" fmla="*/ 9349 h 137122"/>
                <a:gd name="connsiteX2" fmla="*/ 284841 w 311642"/>
                <a:gd name="connsiteY2" fmla="*/ 136499 h 137122"/>
                <a:gd name="connsiteX3" fmla="*/ 9349 w 311642"/>
                <a:gd name="connsiteY3" fmla="*/ 13649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642" h="137122">
                  <a:moveTo>
                    <a:pt x="29294" y="9349"/>
                  </a:moveTo>
                  <a:lnTo>
                    <a:pt x="308526" y="9349"/>
                  </a:lnTo>
                  <a:lnTo>
                    <a:pt x="284841" y="136499"/>
                  </a:lnTo>
                  <a:lnTo>
                    <a:pt x="9349" y="13649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8" name="任意多边形: 形状 9897">
              <a:extLst>
                <a:ext uri="{FF2B5EF4-FFF2-40B4-BE49-F238E27FC236}">
                  <a16:creationId xmlns:a16="http://schemas.microsoft.com/office/drawing/2014/main" id="{908D9DE3-F112-4CEA-8515-ED65BE62B761}"/>
                </a:ext>
              </a:extLst>
            </p:cNvPr>
            <p:cNvSpPr/>
            <p:nvPr/>
          </p:nvSpPr>
          <p:spPr>
            <a:xfrm>
              <a:off x="10137451" y="2763647"/>
              <a:ext cx="585887" cy="398902"/>
            </a:xfrm>
            <a:custGeom>
              <a:avLst/>
              <a:gdLst>
                <a:gd name="connsiteX0" fmla="*/ 580277 w 585887"/>
                <a:gd name="connsiteY0" fmla="*/ 352156 h 398901"/>
                <a:gd name="connsiteX1" fmla="*/ 116554 w 585887"/>
                <a:gd name="connsiteY1" fmla="*/ 9349 h 398901"/>
                <a:gd name="connsiteX2" fmla="*/ 9349 w 585887"/>
                <a:gd name="connsiteY2" fmla="*/ 105335 h 398901"/>
                <a:gd name="connsiteX3" fmla="*/ 398279 w 585887"/>
                <a:gd name="connsiteY3" fmla="*/ 395785 h 398901"/>
                <a:gd name="connsiteX4" fmla="*/ 580277 w 585887"/>
                <a:gd name="connsiteY4" fmla="*/ 352156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887" h="398901">
                  <a:moveTo>
                    <a:pt x="580277" y="352156"/>
                  </a:moveTo>
                  <a:cubicBezTo>
                    <a:pt x="580277" y="352156"/>
                    <a:pt x="239964" y="282348"/>
                    <a:pt x="116554" y="9349"/>
                  </a:cubicBezTo>
                  <a:lnTo>
                    <a:pt x="9349" y="105335"/>
                  </a:lnTo>
                  <a:lnTo>
                    <a:pt x="398279" y="395785"/>
                  </a:lnTo>
                  <a:lnTo>
                    <a:pt x="580277" y="352156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9" name="任意多边形: 形状 9898">
              <a:extLst>
                <a:ext uri="{FF2B5EF4-FFF2-40B4-BE49-F238E27FC236}">
                  <a16:creationId xmlns:a16="http://schemas.microsoft.com/office/drawing/2014/main" id="{97A8846A-EEBB-4A1F-A48C-27FD3DF491E4}"/>
                </a:ext>
              </a:extLst>
            </p:cNvPr>
            <p:cNvSpPr/>
            <p:nvPr/>
          </p:nvSpPr>
          <p:spPr>
            <a:xfrm>
              <a:off x="7189317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2 w 3203680"/>
                <a:gd name="connsiteY3" fmla="*/ 294813 h 860132"/>
                <a:gd name="connsiteX4" fmla="*/ 3120784 w 3203680"/>
                <a:gd name="connsiteY4" fmla="*/ 802167 h 860132"/>
                <a:gd name="connsiteX5" fmla="*/ 2901388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0085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1387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2" y="294813"/>
                  </a:lnTo>
                  <a:lnTo>
                    <a:pt x="3120784" y="802167"/>
                  </a:lnTo>
                  <a:lnTo>
                    <a:pt x="2901388" y="803413"/>
                  </a:lnTo>
                  <a:lnTo>
                    <a:pt x="2910114" y="650085"/>
                  </a:lnTo>
                  <a:lnTo>
                    <a:pt x="2795430" y="650085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1387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0" name="任意多边形: 形状 9899">
              <a:extLst>
                <a:ext uri="{FF2B5EF4-FFF2-40B4-BE49-F238E27FC236}">
                  <a16:creationId xmlns:a16="http://schemas.microsoft.com/office/drawing/2014/main" id="{5A0295AE-8A94-46B8-9ECE-CECB1E806F1D}"/>
                </a:ext>
              </a:extLst>
            </p:cNvPr>
            <p:cNvSpPr/>
            <p:nvPr/>
          </p:nvSpPr>
          <p:spPr>
            <a:xfrm>
              <a:off x="6364084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0035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1" name="任意多边形: 形状 9900">
              <a:extLst>
                <a:ext uri="{FF2B5EF4-FFF2-40B4-BE49-F238E27FC236}">
                  <a16:creationId xmlns:a16="http://schemas.microsoft.com/office/drawing/2014/main" id="{22D73974-4C1A-40D7-9887-2535C0375130}"/>
                </a:ext>
              </a:extLst>
            </p:cNvPr>
            <p:cNvSpPr/>
            <p:nvPr/>
          </p:nvSpPr>
          <p:spPr>
            <a:xfrm>
              <a:off x="7136961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3 w 3203680"/>
                <a:gd name="connsiteY3" fmla="*/ 296060 h 860132"/>
                <a:gd name="connsiteX4" fmla="*/ 3119537 w 3203680"/>
                <a:gd name="connsiteY4" fmla="*/ 802167 h 860132"/>
                <a:gd name="connsiteX5" fmla="*/ 2900142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1332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2633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3" y="296060"/>
                  </a:lnTo>
                  <a:lnTo>
                    <a:pt x="3119537" y="802167"/>
                  </a:lnTo>
                  <a:lnTo>
                    <a:pt x="2900142" y="803413"/>
                  </a:lnTo>
                  <a:lnTo>
                    <a:pt x="2910114" y="650085"/>
                  </a:lnTo>
                  <a:lnTo>
                    <a:pt x="2795430" y="651332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2633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2" name="任意多边形: 形状 9901">
              <a:extLst>
                <a:ext uri="{FF2B5EF4-FFF2-40B4-BE49-F238E27FC236}">
                  <a16:creationId xmlns:a16="http://schemas.microsoft.com/office/drawing/2014/main" id="{63C39DBB-A324-4E10-947A-AB4AFF0EAC27}"/>
                </a:ext>
              </a:extLst>
            </p:cNvPr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3" name="任意多边形: 形状 9902">
              <a:extLst>
                <a:ext uri="{FF2B5EF4-FFF2-40B4-BE49-F238E27FC236}">
                  <a16:creationId xmlns:a16="http://schemas.microsoft.com/office/drawing/2014/main" id="{ABE8C5AC-DA3E-4F39-A99E-72233509D095}"/>
                </a:ext>
              </a:extLst>
            </p:cNvPr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4" name="任意多边形: 形状 9903">
              <a:extLst>
                <a:ext uri="{FF2B5EF4-FFF2-40B4-BE49-F238E27FC236}">
                  <a16:creationId xmlns:a16="http://schemas.microsoft.com/office/drawing/2014/main" id="{626734D4-9469-4957-A1B8-02A2909FA397}"/>
                </a:ext>
              </a:extLst>
            </p:cNvPr>
            <p:cNvSpPr/>
            <p:nvPr/>
          </p:nvSpPr>
          <p:spPr>
            <a:xfrm>
              <a:off x="10263583" y="2985536"/>
              <a:ext cx="124657" cy="299176"/>
            </a:xfrm>
            <a:custGeom>
              <a:avLst/>
              <a:gdLst>
                <a:gd name="connsiteX0" fmla="*/ 67709 w 124656"/>
                <a:gd name="connsiteY0" fmla="*/ 9349 h 299176"/>
                <a:gd name="connsiteX1" fmla="*/ 68955 w 124656"/>
                <a:gd name="connsiteY1" fmla="*/ 294813 h 299176"/>
                <a:gd name="connsiteX2" fmla="*/ 67709 w 124656"/>
                <a:gd name="connsiteY2" fmla="*/ 9349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299176">
                  <a:moveTo>
                    <a:pt x="67709" y="9349"/>
                  </a:moveTo>
                  <a:cubicBezTo>
                    <a:pt x="67709" y="9349"/>
                    <a:pt x="-64427" y="120294"/>
                    <a:pt x="68955" y="294813"/>
                  </a:cubicBezTo>
                  <a:cubicBezTo>
                    <a:pt x="67709" y="294813"/>
                    <a:pt x="186133" y="127773"/>
                    <a:pt x="67709" y="934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5" name="任意多边形: 形状 9904">
              <a:extLst>
                <a:ext uri="{FF2B5EF4-FFF2-40B4-BE49-F238E27FC236}">
                  <a16:creationId xmlns:a16="http://schemas.microsoft.com/office/drawing/2014/main" id="{407AB160-92F3-418D-917C-3AE62222E882}"/>
                </a:ext>
              </a:extLst>
            </p:cNvPr>
            <p:cNvSpPr/>
            <p:nvPr/>
          </p:nvSpPr>
          <p:spPr>
            <a:xfrm>
              <a:off x="10128725" y="3647775"/>
              <a:ext cx="186985" cy="149588"/>
            </a:xfrm>
            <a:custGeom>
              <a:avLst/>
              <a:gdLst>
                <a:gd name="connsiteX0" fmla="*/ 9349 w 186985"/>
                <a:gd name="connsiteY0" fmla="*/ 144914 h 149588"/>
                <a:gd name="connsiteX1" fmla="*/ 61705 w 186985"/>
                <a:gd name="connsiteY1" fmla="*/ 42695 h 149588"/>
                <a:gd name="connsiteX2" fmla="*/ 96609 w 186985"/>
                <a:gd name="connsiteY2" fmla="*/ 23996 h 149588"/>
                <a:gd name="connsiteX3" fmla="*/ 136499 w 186985"/>
                <a:gd name="connsiteY3" fmla="*/ 10284 h 149588"/>
                <a:gd name="connsiteX4" fmla="*/ 177636 w 186985"/>
                <a:gd name="connsiteY4" fmla="*/ 17764 h 149588"/>
                <a:gd name="connsiteX5" fmla="*/ 181376 w 186985"/>
                <a:gd name="connsiteY5" fmla="*/ 139928 h 149588"/>
                <a:gd name="connsiteX6" fmla="*/ 9349 w 186985"/>
                <a:gd name="connsiteY6" fmla="*/ 1449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985" h="149588">
                  <a:moveTo>
                    <a:pt x="9349" y="144914"/>
                  </a:moveTo>
                  <a:cubicBezTo>
                    <a:pt x="9349" y="105023"/>
                    <a:pt x="29294" y="66380"/>
                    <a:pt x="61705" y="42695"/>
                  </a:cubicBezTo>
                  <a:cubicBezTo>
                    <a:pt x="72924" y="35215"/>
                    <a:pt x="85390" y="28983"/>
                    <a:pt x="96609" y="23996"/>
                  </a:cubicBezTo>
                  <a:cubicBezTo>
                    <a:pt x="109075" y="17764"/>
                    <a:pt x="122787" y="12777"/>
                    <a:pt x="136499" y="10284"/>
                  </a:cubicBezTo>
                  <a:cubicBezTo>
                    <a:pt x="150211" y="7791"/>
                    <a:pt x="165170" y="10284"/>
                    <a:pt x="177636" y="17764"/>
                  </a:cubicBezTo>
                  <a:lnTo>
                    <a:pt x="181376" y="139928"/>
                  </a:lnTo>
                  <a:lnTo>
                    <a:pt x="9349" y="144914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6" name="任意多边形: 形状 9905">
              <a:extLst>
                <a:ext uri="{FF2B5EF4-FFF2-40B4-BE49-F238E27FC236}">
                  <a16:creationId xmlns:a16="http://schemas.microsoft.com/office/drawing/2014/main" id="{C0A74048-9823-432F-8BEA-6A74892EB58E}"/>
                </a:ext>
              </a:extLst>
            </p:cNvPr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noFill/>
            <a:ln w="9525" cap="flat">
              <a:solidFill>
                <a:srgbClr val="282F5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7" name="任意多边形: 形状 9906">
              <a:extLst>
                <a:ext uri="{FF2B5EF4-FFF2-40B4-BE49-F238E27FC236}">
                  <a16:creationId xmlns:a16="http://schemas.microsoft.com/office/drawing/2014/main" id="{EEFC2D4C-F50D-43F1-A586-B47522609DA6}"/>
                </a:ext>
              </a:extLst>
            </p:cNvPr>
            <p:cNvSpPr/>
            <p:nvPr/>
          </p:nvSpPr>
          <p:spPr>
            <a:xfrm>
              <a:off x="10305159" y="2990808"/>
              <a:ext cx="87260" cy="286711"/>
            </a:xfrm>
            <a:custGeom>
              <a:avLst/>
              <a:gdLst>
                <a:gd name="connsiteX0" fmla="*/ 68517 w 87259"/>
                <a:gd name="connsiteY0" fmla="*/ 280816 h 286710"/>
                <a:gd name="connsiteX1" fmla="*/ 23640 w 87259"/>
                <a:gd name="connsiteY1" fmla="*/ 217240 h 286710"/>
                <a:gd name="connsiteX2" fmla="*/ 13667 w 87259"/>
                <a:gd name="connsiteY2" fmla="*/ 164885 h 286710"/>
                <a:gd name="connsiteX3" fmla="*/ 13667 w 87259"/>
                <a:gd name="connsiteY3" fmla="*/ 58926 h 286710"/>
                <a:gd name="connsiteX4" fmla="*/ 34859 w 87259"/>
                <a:gd name="connsiteY4" fmla="*/ 16543 h 286710"/>
                <a:gd name="connsiteX5" fmla="*/ 78489 w 87259"/>
                <a:gd name="connsiteY5" fmla="*/ 19036 h 286710"/>
                <a:gd name="connsiteX6" fmla="*/ 68517 w 87259"/>
                <a:gd name="connsiteY6" fmla="*/ 280816 h 28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259" h="286710">
                  <a:moveTo>
                    <a:pt x="68517" y="280816"/>
                  </a:moveTo>
                  <a:cubicBezTo>
                    <a:pt x="51064" y="260870"/>
                    <a:pt x="32366" y="240925"/>
                    <a:pt x="23640" y="217240"/>
                  </a:cubicBezTo>
                  <a:cubicBezTo>
                    <a:pt x="17407" y="201035"/>
                    <a:pt x="16161" y="182337"/>
                    <a:pt x="13667" y="164885"/>
                  </a:cubicBezTo>
                  <a:cubicBezTo>
                    <a:pt x="9928" y="129981"/>
                    <a:pt x="6188" y="93830"/>
                    <a:pt x="13667" y="58926"/>
                  </a:cubicBezTo>
                  <a:cubicBezTo>
                    <a:pt x="16161" y="42721"/>
                    <a:pt x="22393" y="26515"/>
                    <a:pt x="34859" y="16543"/>
                  </a:cubicBezTo>
                  <a:cubicBezTo>
                    <a:pt x="47325" y="6571"/>
                    <a:pt x="68517" y="6571"/>
                    <a:pt x="78489" y="19036"/>
                  </a:cubicBezTo>
                  <a:lnTo>
                    <a:pt x="68517" y="280816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8" name="任意多边形: 形状 9907">
              <a:extLst>
                <a:ext uri="{FF2B5EF4-FFF2-40B4-BE49-F238E27FC236}">
                  <a16:creationId xmlns:a16="http://schemas.microsoft.com/office/drawing/2014/main" id="{876C2623-FE31-4E6C-8930-391C53BEC2B4}"/>
                </a:ext>
              </a:extLst>
            </p:cNvPr>
            <p:cNvSpPr/>
            <p:nvPr/>
          </p:nvSpPr>
          <p:spPr>
            <a:xfrm>
              <a:off x="6624566" y="3111384"/>
              <a:ext cx="236848" cy="249314"/>
            </a:xfrm>
            <a:custGeom>
              <a:avLst/>
              <a:gdLst>
                <a:gd name="connsiteX0" fmla="*/ 213842 w 236847"/>
                <a:gd name="connsiteY0" fmla="*/ 9404 h 249313"/>
                <a:gd name="connsiteX1" fmla="*/ 236280 w 236847"/>
                <a:gd name="connsiteY1" fmla="*/ 61760 h 249313"/>
                <a:gd name="connsiteX2" fmla="*/ 233787 w 236847"/>
                <a:gd name="connsiteY2" fmla="*/ 121596 h 249313"/>
                <a:gd name="connsiteX3" fmla="*/ 220074 w 236847"/>
                <a:gd name="connsiteY3" fmla="*/ 160239 h 249313"/>
                <a:gd name="connsiteX4" fmla="*/ 191403 w 236847"/>
                <a:gd name="connsiteY4" fmla="*/ 195143 h 249313"/>
                <a:gd name="connsiteX5" fmla="*/ 63007 w 236847"/>
                <a:gd name="connsiteY5" fmla="*/ 241266 h 249313"/>
                <a:gd name="connsiteX6" fmla="*/ 9404 w 236847"/>
                <a:gd name="connsiteY6" fmla="*/ 221321 h 249313"/>
                <a:gd name="connsiteX7" fmla="*/ 56774 w 236847"/>
                <a:gd name="connsiteY7" fmla="*/ 196390 h 249313"/>
                <a:gd name="connsiteX8" fmla="*/ 102897 w 236847"/>
                <a:gd name="connsiteY8" fmla="*/ 176445 h 249313"/>
                <a:gd name="connsiteX9" fmla="*/ 151513 w 236847"/>
                <a:gd name="connsiteY9" fmla="*/ 145281 h 249313"/>
                <a:gd name="connsiteX10" fmla="*/ 178938 w 236847"/>
                <a:gd name="connsiteY10" fmla="*/ 105390 h 249313"/>
                <a:gd name="connsiteX11" fmla="*/ 192650 w 236847"/>
                <a:gd name="connsiteY11" fmla="*/ 56774 h 249313"/>
                <a:gd name="connsiteX12" fmla="*/ 213842 w 236847"/>
                <a:gd name="connsiteY12" fmla="*/ 9404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249313">
                  <a:moveTo>
                    <a:pt x="213842" y="9404"/>
                  </a:moveTo>
                  <a:cubicBezTo>
                    <a:pt x="222568" y="8158"/>
                    <a:pt x="232540" y="28103"/>
                    <a:pt x="236280" y="61760"/>
                  </a:cubicBezTo>
                  <a:cubicBezTo>
                    <a:pt x="237527" y="79212"/>
                    <a:pt x="238773" y="97911"/>
                    <a:pt x="233787" y="121596"/>
                  </a:cubicBezTo>
                  <a:cubicBezTo>
                    <a:pt x="231294" y="134061"/>
                    <a:pt x="227554" y="146527"/>
                    <a:pt x="220074" y="160239"/>
                  </a:cubicBezTo>
                  <a:cubicBezTo>
                    <a:pt x="212595" y="173951"/>
                    <a:pt x="202623" y="185170"/>
                    <a:pt x="191403" y="195143"/>
                  </a:cubicBezTo>
                  <a:cubicBezTo>
                    <a:pt x="146527" y="231294"/>
                    <a:pt x="97911" y="241266"/>
                    <a:pt x="63007" y="241266"/>
                  </a:cubicBezTo>
                  <a:cubicBezTo>
                    <a:pt x="28103" y="240020"/>
                    <a:pt x="8158" y="230047"/>
                    <a:pt x="9404" y="221321"/>
                  </a:cubicBezTo>
                  <a:cubicBezTo>
                    <a:pt x="9404" y="212595"/>
                    <a:pt x="29350" y="206362"/>
                    <a:pt x="56774" y="196390"/>
                  </a:cubicBezTo>
                  <a:cubicBezTo>
                    <a:pt x="70486" y="191403"/>
                    <a:pt x="86692" y="185170"/>
                    <a:pt x="102897" y="176445"/>
                  </a:cubicBezTo>
                  <a:cubicBezTo>
                    <a:pt x="119103" y="167719"/>
                    <a:pt x="137801" y="157746"/>
                    <a:pt x="151513" y="145281"/>
                  </a:cubicBezTo>
                  <a:cubicBezTo>
                    <a:pt x="165225" y="132815"/>
                    <a:pt x="172705" y="121596"/>
                    <a:pt x="178938" y="105390"/>
                  </a:cubicBezTo>
                  <a:cubicBezTo>
                    <a:pt x="185171" y="89185"/>
                    <a:pt x="188910" y="70486"/>
                    <a:pt x="192650" y="56774"/>
                  </a:cubicBezTo>
                  <a:cubicBezTo>
                    <a:pt x="198883" y="29350"/>
                    <a:pt x="205116" y="9404"/>
                    <a:pt x="213842" y="9404"/>
                  </a:cubicBez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9" name="任意多边形: 形状 9908">
              <a:extLst>
                <a:ext uri="{FF2B5EF4-FFF2-40B4-BE49-F238E27FC236}">
                  <a16:creationId xmlns:a16="http://schemas.microsoft.com/office/drawing/2014/main" id="{0CF5F633-AAFC-4233-A3EE-0F2C72661BDD}"/>
                </a:ext>
              </a:extLst>
            </p:cNvPr>
            <p:cNvSpPr/>
            <p:nvPr/>
          </p:nvSpPr>
          <p:spPr>
            <a:xfrm>
              <a:off x="8432145" y="3025656"/>
              <a:ext cx="785338" cy="224382"/>
            </a:xfrm>
            <a:custGeom>
              <a:avLst/>
              <a:gdLst>
                <a:gd name="connsiteX0" fmla="*/ 49240 w 785338"/>
                <a:gd name="connsiteY0" fmla="*/ 14105 h 224382"/>
                <a:gd name="connsiteX1" fmla="*/ 191348 w 785338"/>
                <a:gd name="connsiteY1" fmla="*/ 46516 h 224382"/>
                <a:gd name="connsiteX2" fmla="*/ 316005 w 785338"/>
                <a:gd name="connsiteY2" fmla="*/ 182392 h 224382"/>
                <a:gd name="connsiteX3" fmla="*/ 483045 w 785338"/>
                <a:gd name="connsiteY3" fmla="*/ 176159 h 224382"/>
                <a:gd name="connsiteX4" fmla="*/ 646346 w 785338"/>
                <a:gd name="connsiteY4" fmla="*/ 120063 h 224382"/>
                <a:gd name="connsiteX5" fmla="*/ 780975 w 785338"/>
                <a:gd name="connsiteY5" fmla="*/ 201090 h 224382"/>
                <a:gd name="connsiteX6" fmla="*/ 9349 w 785338"/>
                <a:gd name="connsiteY6" fmla="*/ 226021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338" h="224382">
                  <a:moveTo>
                    <a:pt x="49240" y="14105"/>
                  </a:moveTo>
                  <a:cubicBezTo>
                    <a:pt x="97856" y="1639"/>
                    <a:pt x="152705" y="14105"/>
                    <a:pt x="191348" y="46516"/>
                  </a:cubicBezTo>
                  <a:cubicBezTo>
                    <a:pt x="238718" y="86406"/>
                    <a:pt x="262403" y="152474"/>
                    <a:pt x="316005" y="182392"/>
                  </a:cubicBezTo>
                  <a:cubicBezTo>
                    <a:pt x="367115" y="209816"/>
                    <a:pt x="429443" y="197350"/>
                    <a:pt x="483045" y="176159"/>
                  </a:cubicBezTo>
                  <a:cubicBezTo>
                    <a:pt x="536648" y="154967"/>
                    <a:pt x="589004" y="125050"/>
                    <a:pt x="646346" y="120063"/>
                  </a:cubicBezTo>
                  <a:cubicBezTo>
                    <a:pt x="703688" y="115077"/>
                    <a:pt x="769756" y="144995"/>
                    <a:pt x="780975" y="201090"/>
                  </a:cubicBezTo>
                  <a:cubicBezTo>
                    <a:pt x="529168" y="216049"/>
                    <a:pt x="261156" y="211063"/>
                    <a:pt x="9349" y="226021"/>
                  </a:cubicBezTo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0" name="任意多边形: 形状 9909">
              <a:extLst>
                <a:ext uri="{FF2B5EF4-FFF2-40B4-BE49-F238E27FC236}">
                  <a16:creationId xmlns:a16="http://schemas.microsoft.com/office/drawing/2014/main" id="{49C5DA43-66B6-4F0C-8230-013795CC1CA2}"/>
                </a:ext>
              </a:extLst>
            </p:cNvPr>
            <p:cNvSpPr/>
            <p:nvPr/>
          </p:nvSpPr>
          <p:spPr>
            <a:xfrm>
              <a:off x="6288048" y="3006727"/>
              <a:ext cx="760407" cy="723010"/>
            </a:xfrm>
            <a:custGeom>
              <a:avLst/>
              <a:gdLst>
                <a:gd name="connsiteX0" fmla="*/ 29294 w 760406"/>
                <a:gd name="connsiteY0" fmla="*/ 9349 h 723009"/>
                <a:gd name="connsiteX1" fmla="*/ 161431 w 760406"/>
                <a:gd name="connsiteY1" fmla="*/ 116554 h 723009"/>
                <a:gd name="connsiteX2" fmla="*/ 207554 w 760406"/>
                <a:gd name="connsiteY2" fmla="*/ 314758 h 723009"/>
                <a:gd name="connsiteX3" fmla="*/ 203814 w 760406"/>
                <a:gd name="connsiteY3" fmla="*/ 439415 h 723009"/>
                <a:gd name="connsiteX4" fmla="*/ 389553 w 760406"/>
                <a:gd name="connsiteY4" fmla="*/ 613935 h 723009"/>
                <a:gd name="connsiteX5" fmla="*/ 476812 w 760406"/>
                <a:gd name="connsiteY5" fmla="*/ 606456 h 723009"/>
                <a:gd name="connsiteX6" fmla="*/ 587757 w 760406"/>
                <a:gd name="connsiteY6" fmla="*/ 589003 h 723009"/>
                <a:gd name="connsiteX7" fmla="*/ 734852 w 760406"/>
                <a:gd name="connsiteY7" fmla="*/ 632633 h 723009"/>
                <a:gd name="connsiteX8" fmla="*/ 752304 w 760406"/>
                <a:gd name="connsiteY8" fmla="*/ 689975 h 723009"/>
                <a:gd name="connsiteX9" fmla="*/ 754797 w 760406"/>
                <a:gd name="connsiteY9" fmla="*/ 726126 h 723009"/>
                <a:gd name="connsiteX10" fmla="*/ 562826 w 760406"/>
                <a:gd name="connsiteY10" fmla="*/ 721140 h 723009"/>
                <a:gd name="connsiteX11" fmla="*/ 9349 w 760406"/>
                <a:gd name="connsiteY11" fmla="*/ 202567 h 723009"/>
                <a:gd name="connsiteX12" fmla="*/ 29294 w 760406"/>
                <a:gd name="connsiteY12" fmla="*/ 9349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0406" h="723009">
                  <a:moveTo>
                    <a:pt x="29294" y="9349"/>
                  </a:moveTo>
                  <a:cubicBezTo>
                    <a:pt x="97856" y="11842"/>
                    <a:pt x="125280" y="57965"/>
                    <a:pt x="161431" y="116554"/>
                  </a:cubicBezTo>
                  <a:cubicBezTo>
                    <a:pt x="197581" y="175143"/>
                    <a:pt x="210047" y="246197"/>
                    <a:pt x="207554" y="314758"/>
                  </a:cubicBezTo>
                  <a:cubicBezTo>
                    <a:pt x="205061" y="355895"/>
                    <a:pt x="198828" y="398279"/>
                    <a:pt x="203814" y="439415"/>
                  </a:cubicBezTo>
                  <a:cubicBezTo>
                    <a:pt x="216280" y="530415"/>
                    <a:pt x="298553" y="607702"/>
                    <a:pt x="389553" y="613935"/>
                  </a:cubicBezTo>
                  <a:cubicBezTo>
                    <a:pt x="419470" y="616428"/>
                    <a:pt x="448141" y="611442"/>
                    <a:pt x="476812" y="606456"/>
                  </a:cubicBezTo>
                  <a:cubicBezTo>
                    <a:pt x="514209" y="600223"/>
                    <a:pt x="550360" y="595236"/>
                    <a:pt x="587757" y="589003"/>
                  </a:cubicBezTo>
                  <a:cubicBezTo>
                    <a:pt x="640113" y="581524"/>
                    <a:pt x="699948" y="574045"/>
                    <a:pt x="734852" y="632633"/>
                  </a:cubicBezTo>
                  <a:cubicBezTo>
                    <a:pt x="744825" y="650085"/>
                    <a:pt x="749811" y="670030"/>
                    <a:pt x="752304" y="689975"/>
                  </a:cubicBezTo>
                  <a:cubicBezTo>
                    <a:pt x="754797" y="726126"/>
                    <a:pt x="764770" y="691222"/>
                    <a:pt x="754797" y="726126"/>
                  </a:cubicBezTo>
                  <a:lnTo>
                    <a:pt x="562826" y="721140"/>
                  </a:lnTo>
                  <a:cubicBezTo>
                    <a:pt x="273622" y="713660"/>
                    <a:pt x="35527" y="490525"/>
                    <a:pt x="9349" y="202567"/>
                  </a:cubicBezTo>
                  <a:lnTo>
                    <a:pt x="29294" y="9349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1" name="任意多边形: 形状 9910">
              <a:extLst>
                <a:ext uri="{FF2B5EF4-FFF2-40B4-BE49-F238E27FC236}">
                  <a16:creationId xmlns:a16="http://schemas.microsoft.com/office/drawing/2014/main" id="{19A04443-A076-4E1A-8F9F-406DE9420BC1}"/>
                </a:ext>
              </a:extLst>
            </p:cNvPr>
            <p:cNvSpPr/>
            <p:nvPr/>
          </p:nvSpPr>
          <p:spPr>
            <a:xfrm>
              <a:off x="6821579" y="3653452"/>
              <a:ext cx="186985" cy="99725"/>
            </a:xfrm>
            <a:custGeom>
              <a:avLst/>
              <a:gdLst>
                <a:gd name="connsiteX0" fmla="*/ 18075 w 186985"/>
                <a:gd name="connsiteY0" fmla="*/ 80648 h 99725"/>
                <a:gd name="connsiteX1" fmla="*/ 31787 w 186985"/>
                <a:gd name="connsiteY1" fmla="*/ 75662 h 99725"/>
                <a:gd name="connsiteX2" fmla="*/ 45500 w 186985"/>
                <a:gd name="connsiteY2" fmla="*/ 83141 h 99725"/>
                <a:gd name="connsiteX3" fmla="*/ 183869 w 186985"/>
                <a:gd name="connsiteY3" fmla="*/ 78155 h 99725"/>
                <a:gd name="connsiteX4" fmla="*/ 69184 w 186985"/>
                <a:gd name="connsiteY4" fmla="*/ 38265 h 99725"/>
                <a:gd name="connsiteX5" fmla="*/ 104088 w 186985"/>
                <a:gd name="connsiteY5" fmla="*/ 15827 h 99725"/>
                <a:gd name="connsiteX6" fmla="*/ 105335 w 186985"/>
                <a:gd name="connsiteY6" fmla="*/ 10840 h 99725"/>
                <a:gd name="connsiteX7" fmla="*/ 101595 w 186985"/>
                <a:gd name="connsiteY7" fmla="*/ 9594 h 99725"/>
                <a:gd name="connsiteX8" fmla="*/ 72924 w 186985"/>
                <a:gd name="connsiteY8" fmla="*/ 15827 h 99725"/>
                <a:gd name="connsiteX9" fmla="*/ 16828 w 186985"/>
                <a:gd name="connsiteY9" fmla="*/ 39511 h 99725"/>
                <a:gd name="connsiteX10" fmla="*/ 10596 w 186985"/>
                <a:gd name="connsiteY10" fmla="*/ 43251 h 99725"/>
                <a:gd name="connsiteX11" fmla="*/ 9349 w 186985"/>
                <a:gd name="connsiteY11" fmla="*/ 51977 h 99725"/>
                <a:gd name="connsiteX12" fmla="*/ 11842 w 186985"/>
                <a:gd name="connsiteY12" fmla="*/ 76908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985" h="99725">
                  <a:moveTo>
                    <a:pt x="18075" y="80648"/>
                  </a:moveTo>
                  <a:cubicBezTo>
                    <a:pt x="20568" y="75662"/>
                    <a:pt x="26801" y="74415"/>
                    <a:pt x="31787" y="75662"/>
                  </a:cubicBezTo>
                  <a:cubicBezTo>
                    <a:pt x="36774" y="76908"/>
                    <a:pt x="40513" y="79401"/>
                    <a:pt x="45500" y="83141"/>
                  </a:cubicBezTo>
                  <a:cubicBezTo>
                    <a:pt x="86636" y="110566"/>
                    <a:pt x="145225" y="108073"/>
                    <a:pt x="183869" y="78155"/>
                  </a:cubicBezTo>
                  <a:cubicBezTo>
                    <a:pt x="146472" y="63196"/>
                    <a:pt x="107828" y="49484"/>
                    <a:pt x="69184" y="38265"/>
                  </a:cubicBezTo>
                  <a:cubicBezTo>
                    <a:pt x="82897" y="35771"/>
                    <a:pt x="96609" y="28292"/>
                    <a:pt x="104088" y="15827"/>
                  </a:cubicBezTo>
                  <a:cubicBezTo>
                    <a:pt x="105335" y="14580"/>
                    <a:pt x="106581" y="12087"/>
                    <a:pt x="105335" y="10840"/>
                  </a:cubicBezTo>
                  <a:cubicBezTo>
                    <a:pt x="104088" y="9594"/>
                    <a:pt x="102842" y="9594"/>
                    <a:pt x="101595" y="9594"/>
                  </a:cubicBezTo>
                  <a:cubicBezTo>
                    <a:pt x="91622" y="8347"/>
                    <a:pt x="81650" y="12087"/>
                    <a:pt x="72924" y="15827"/>
                  </a:cubicBezTo>
                  <a:cubicBezTo>
                    <a:pt x="54225" y="23306"/>
                    <a:pt x="35527" y="32032"/>
                    <a:pt x="16828" y="39511"/>
                  </a:cubicBezTo>
                  <a:cubicBezTo>
                    <a:pt x="14335" y="40758"/>
                    <a:pt x="11842" y="42004"/>
                    <a:pt x="10596" y="43251"/>
                  </a:cubicBezTo>
                  <a:cubicBezTo>
                    <a:pt x="9349" y="45744"/>
                    <a:pt x="9349" y="48237"/>
                    <a:pt x="9349" y="51977"/>
                  </a:cubicBezTo>
                  <a:cubicBezTo>
                    <a:pt x="10596" y="60703"/>
                    <a:pt x="11842" y="69429"/>
                    <a:pt x="11842" y="76908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2" name="任意多边形: 形状 9911">
              <a:extLst>
                <a:ext uri="{FF2B5EF4-FFF2-40B4-BE49-F238E27FC236}">
                  <a16:creationId xmlns:a16="http://schemas.microsoft.com/office/drawing/2014/main" id="{2471D778-297A-43C8-893A-044986C81D66}"/>
                </a:ext>
              </a:extLst>
            </p:cNvPr>
            <p:cNvSpPr/>
            <p:nvPr/>
          </p:nvSpPr>
          <p:spPr>
            <a:xfrm>
              <a:off x="6288048" y="5181989"/>
              <a:ext cx="74794" cy="87260"/>
            </a:xfrm>
            <a:custGeom>
              <a:avLst/>
              <a:gdLst>
                <a:gd name="connsiteX0" fmla="*/ 21815 w 74794"/>
                <a:gd name="connsiteY0" fmla="*/ 13089 h 87259"/>
                <a:gd name="connsiteX1" fmla="*/ 9349 w 74794"/>
                <a:gd name="connsiteY1" fmla="*/ 86637 h 87259"/>
                <a:gd name="connsiteX2" fmla="*/ 47993 w 74794"/>
                <a:gd name="connsiteY2" fmla="*/ 84143 h 87259"/>
                <a:gd name="connsiteX3" fmla="*/ 65445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21815" y="13089"/>
                  </a:moveTo>
                  <a:lnTo>
                    <a:pt x="9349" y="86637"/>
                  </a:lnTo>
                  <a:lnTo>
                    <a:pt x="47993" y="84143"/>
                  </a:lnTo>
                  <a:lnTo>
                    <a:pt x="6544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3" name="任意多边形: 形状 9912">
              <a:extLst>
                <a:ext uri="{FF2B5EF4-FFF2-40B4-BE49-F238E27FC236}">
                  <a16:creationId xmlns:a16="http://schemas.microsoft.com/office/drawing/2014/main" id="{1D7AF4F5-2DC1-4F95-9230-76151F3EA9FE}"/>
                </a:ext>
              </a:extLst>
            </p:cNvPr>
            <p:cNvSpPr/>
            <p:nvPr/>
          </p:nvSpPr>
          <p:spPr>
            <a:xfrm>
              <a:off x="6594704" y="5158304"/>
              <a:ext cx="62328" cy="99725"/>
            </a:xfrm>
            <a:custGeom>
              <a:avLst/>
              <a:gdLst>
                <a:gd name="connsiteX0" fmla="*/ 14335 w 62328"/>
                <a:gd name="connsiteY0" fmla="*/ 16829 h 99725"/>
                <a:gd name="connsiteX1" fmla="*/ 9349 w 62328"/>
                <a:gd name="connsiteY1" fmla="*/ 91623 h 99725"/>
                <a:gd name="connsiteX2" fmla="*/ 46746 w 62328"/>
                <a:gd name="connsiteY2" fmla="*/ 84143 h 99725"/>
                <a:gd name="connsiteX3" fmla="*/ 57965 w 62328"/>
                <a:gd name="connsiteY3" fmla="*/ 934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328" h="99725">
                  <a:moveTo>
                    <a:pt x="14335" y="16829"/>
                  </a:moveTo>
                  <a:lnTo>
                    <a:pt x="9349" y="91623"/>
                  </a:lnTo>
                  <a:lnTo>
                    <a:pt x="46746" y="84143"/>
                  </a:lnTo>
                  <a:lnTo>
                    <a:pt x="5796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4" name="任意多边形: 形状 9913">
              <a:extLst>
                <a:ext uri="{FF2B5EF4-FFF2-40B4-BE49-F238E27FC236}">
                  <a16:creationId xmlns:a16="http://schemas.microsoft.com/office/drawing/2014/main" id="{0C80E579-F47B-4695-BCE2-24B659E2CACE}"/>
                </a:ext>
              </a:extLst>
            </p:cNvPr>
            <p:cNvSpPr/>
            <p:nvPr/>
          </p:nvSpPr>
          <p:spPr>
            <a:xfrm>
              <a:off x="6213254" y="3102713"/>
              <a:ext cx="211917" cy="336573"/>
            </a:xfrm>
            <a:custGeom>
              <a:avLst/>
              <a:gdLst>
                <a:gd name="connsiteX0" fmla="*/ 158937 w 211916"/>
                <a:gd name="connsiteY0" fmla="*/ 9349 h 336573"/>
                <a:gd name="connsiteX1" fmla="*/ 208800 w 211916"/>
                <a:gd name="connsiteY1" fmla="*/ 142732 h 336573"/>
                <a:gd name="connsiteX2" fmla="*/ 175143 w 211916"/>
                <a:gd name="connsiteY2" fmla="*/ 216280 h 336573"/>
                <a:gd name="connsiteX3" fmla="*/ 157691 w 211916"/>
                <a:gd name="connsiteY3" fmla="*/ 222513 h 336573"/>
                <a:gd name="connsiteX4" fmla="*/ 165170 w 211916"/>
                <a:gd name="connsiteY4" fmla="*/ 319745 h 336573"/>
                <a:gd name="connsiteX5" fmla="*/ 29294 w 211916"/>
                <a:gd name="connsiteY5" fmla="*/ 329717 h 336573"/>
                <a:gd name="connsiteX6" fmla="*/ 9349 w 211916"/>
                <a:gd name="connsiteY6" fmla="*/ 54226 h 336573"/>
                <a:gd name="connsiteX7" fmla="*/ 158937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58937" y="9349"/>
                  </a:moveTo>
                  <a:lnTo>
                    <a:pt x="208800" y="142732"/>
                  </a:lnTo>
                  <a:cubicBezTo>
                    <a:pt x="220019" y="172650"/>
                    <a:pt x="205061" y="205061"/>
                    <a:pt x="175143" y="216280"/>
                  </a:cubicBezTo>
                  <a:lnTo>
                    <a:pt x="157691" y="222513"/>
                  </a:lnTo>
                  <a:lnTo>
                    <a:pt x="165170" y="319745"/>
                  </a:lnTo>
                  <a:lnTo>
                    <a:pt x="29294" y="329717"/>
                  </a:lnTo>
                  <a:lnTo>
                    <a:pt x="9349" y="54226"/>
                  </a:lnTo>
                  <a:lnTo>
                    <a:pt x="158937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5" name="任意多边形: 形状 9914">
              <a:extLst>
                <a:ext uri="{FF2B5EF4-FFF2-40B4-BE49-F238E27FC236}">
                  <a16:creationId xmlns:a16="http://schemas.microsoft.com/office/drawing/2014/main" id="{4B8D811F-DB35-4347-8927-4E874A29C74B}"/>
                </a:ext>
              </a:extLst>
            </p:cNvPr>
            <p:cNvSpPr/>
            <p:nvPr/>
          </p:nvSpPr>
          <p:spPr>
            <a:xfrm>
              <a:off x="6147668" y="3019592"/>
              <a:ext cx="249314" cy="324108"/>
            </a:xfrm>
            <a:custGeom>
              <a:avLst/>
              <a:gdLst>
                <a:gd name="connsiteX0" fmla="*/ 219537 w 249313"/>
                <a:gd name="connsiteY0" fmla="*/ 12690 h 324107"/>
                <a:gd name="connsiteX1" fmla="*/ 158455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3195 h 324107"/>
                <a:gd name="connsiteX4" fmla="*/ 74935 w 249313"/>
                <a:gd name="connsiteY4" fmla="*/ 321839 h 324107"/>
                <a:gd name="connsiteX5" fmla="*/ 144743 w 249313"/>
                <a:gd name="connsiteY5" fmla="*/ 316852 h 324107"/>
                <a:gd name="connsiteX6" fmla="*/ 162195 w 249313"/>
                <a:gd name="connsiteY6" fmla="*/ 230839 h 324107"/>
                <a:gd name="connsiteX7" fmla="*/ 108593 w 249313"/>
                <a:gd name="connsiteY7" fmla="*/ 178483 h 324107"/>
                <a:gd name="connsiteX8" fmla="*/ 169674 w 249313"/>
                <a:gd name="connsiteY8" fmla="*/ 195935 h 324107"/>
                <a:gd name="connsiteX9" fmla="*/ 189620 w 249313"/>
                <a:gd name="connsiteY9" fmla="*/ 193442 h 324107"/>
                <a:gd name="connsiteX10" fmla="*/ 165935 w 249313"/>
                <a:gd name="connsiteY10" fmla="*/ 116155 h 324107"/>
                <a:gd name="connsiteX11" fmla="*/ 243222 w 249313"/>
                <a:gd name="connsiteY11" fmla="*/ 60059 h 324107"/>
                <a:gd name="connsiteX12" fmla="*/ 219537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19537" y="12690"/>
                  </a:moveTo>
                  <a:cubicBezTo>
                    <a:pt x="219537" y="12690"/>
                    <a:pt x="192112" y="-4762"/>
                    <a:pt x="158455" y="40114"/>
                  </a:cubicBezTo>
                  <a:cubicBezTo>
                    <a:pt x="124798" y="84991"/>
                    <a:pt x="46264" y="55073"/>
                    <a:pt x="21333" y="111169"/>
                  </a:cubicBezTo>
                  <a:cubicBezTo>
                    <a:pt x="-4845" y="167264"/>
                    <a:pt x="15100" y="233332"/>
                    <a:pt x="50004" y="283195"/>
                  </a:cubicBezTo>
                  <a:lnTo>
                    <a:pt x="74935" y="321839"/>
                  </a:lnTo>
                  <a:lnTo>
                    <a:pt x="144743" y="316852"/>
                  </a:lnTo>
                  <a:cubicBezTo>
                    <a:pt x="144743" y="316852"/>
                    <a:pt x="174661" y="249538"/>
                    <a:pt x="162195" y="230839"/>
                  </a:cubicBezTo>
                  <a:cubicBezTo>
                    <a:pt x="162195" y="230839"/>
                    <a:pt x="84908" y="219620"/>
                    <a:pt x="108593" y="178483"/>
                  </a:cubicBezTo>
                  <a:cubicBezTo>
                    <a:pt x="132277" y="137347"/>
                    <a:pt x="169674" y="195935"/>
                    <a:pt x="169674" y="195935"/>
                  </a:cubicBezTo>
                  <a:lnTo>
                    <a:pt x="189620" y="193442"/>
                  </a:lnTo>
                  <a:lnTo>
                    <a:pt x="165935" y="116155"/>
                  </a:lnTo>
                  <a:cubicBezTo>
                    <a:pt x="165935" y="116155"/>
                    <a:pt x="234496" y="102443"/>
                    <a:pt x="243222" y="60059"/>
                  </a:cubicBezTo>
                  <a:cubicBezTo>
                    <a:pt x="249455" y="16429"/>
                    <a:pt x="219537" y="12690"/>
                    <a:pt x="219537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6" name="任意多边形: 形状 9915">
              <a:extLst>
                <a:ext uri="{FF2B5EF4-FFF2-40B4-BE49-F238E27FC236}">
                  <a16:creationId xmlns:a16="http://schemas.microsoft.com/office/drawing/2014/main" id="{0304D40D-0945-4118-83E4-8D6B0772EAAF}"/>
                </a:ext>
              </a:extLst>
            </p:cNvPr>
            <p:cNvSpPr/>
            <p:nvPr/>
          </p:nvSpPr>
          <p:spPr>
            <a:xfrm>
              <a:off x="6119761" y="3960352"/>
              <a:ext cx="598353" cy="1259034"/>
            </a:xfrm>
            <a:custGeom>
              <a:avLst/>
              <a:gdLst>
                <a:gd name="connsiteX0" fmla="*/ 9349 w 598352"/>
                <a:gd name="connsiteY0" fmla="*/ 203814 h 1259033"/>
                <a:gd name="connsiteX1" fmla="*/ 185115 w 598352"/>
                <a:gd name="connsiteY1" fmla="*/ 616428 h 1259033"/>
                <a:gd name="connsiteX2" fmla="*/ 203814 w 598352"/>
                <a:gd name="connsiteY2" fmla="*/ 737345 h 1259033"/>
                <a:gd name="connsiteX3" fmla="*/ 158937 w 598352"/>
                <a:gd name="connsiteY3" fmla="*/ 1255918 h 1259033"/>
                <a:gd name="connsiteX4" fmla="*/ 252430 w 598352"/>
                <a:gd name="connsiteY4" fmla="*/ 1249685 h 1259033"/>
                <a:gd name="connsiteX5" fmla="*/ 380827 w 598352"/>
                <a:gd name="connsiteY5" fmla="*/ 666291 h 1259033"/>
                <a:gd name="connsiteX6" fmla="*/ 314759 w 598352"/>
                <a:gd name="connsiteY6" fmla="*/ 368361 h 1259033"/>
                <a:gd name="connsiteX7" fmla="*/ 426950 w 598352"/>
                <a:gd name="connsiteY7" fmla="*/ 652579 h 1259033"/>
                <a:gd name="connsiteX8" fmla="*/ 466840 w 598352"/>
                <a:gd name="connsiteY8" fmla="*/ 1234726 h 1259033"/>
                <a:gd name="connsiteX9" fmla="*/ 541634 w 598352"/>
                <a:gd name="connsiteY9" fmla="*/ 1229740 h 1259033"/>
                <a:gd name="connsiteX10" fmla="*/ 546620 w 598352"/>
                <a:gd name="connsiteY10" fmla="*/ 418224 h 1259033"/>
                <a:gd name="connsiteX11" fmla="*/ 389553 w 598352"/>
                <a:gd name="connsiteY11" fmla="*/ 9349 h 1259033"/>
                <a:gd name="connsiteX12" fmla="*/ 9349 w 598352"/>
                <a:gd name="connsiteY12" fmla="*/ 203814 h 12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8352" h="1259033">
                  <a:moveTo>
                    <a:pt x="9349" y="203814"/>
                  </a:moveTo>
                  <a:lnTo>
                    <a:pt x="185115" y="616428"/>
                  </a:lnTo>
                  <a:cubicBezTo>
                    <a:pt x="201321" y="653825"/>
                    <a:pt x="207554" y="696208"/>
                    <a:pt x="203814" y="737345"/>
                  </a:cubicBezTo>
                  <a:lnTo>
                    <a:pt x="158937" y="1255918"/>
                  </a:lnTo>
                  <a:lnTo>
                    <a:pt x="252430" y="1249685"/>
                  </a:lnTo>
                  <a:cubicBezTo>
                    <a:pt x="252430" y="1249685"/>
                    <a:pt x="379580" y="784715"/>
                    <a:pt x="380827" y="666291"/>
                  </a:cubicBezTo>
                  <a:cubicBezTo>
                    <a:pt x="380827" y="610195"/>
                    <a:pt x="314759" y="368361"/>
                    <a:pt x="314759" y="368361"/>
                  </a:cubicBezTo>
                  <a:cubicBezTo>
                    <a:pt x="314759" y="368361"/>
                    <a:pt x="425703" y="551606"/>
                    <a:pt x="426950" y="652579"/>
                  </a:cubicBezTo>
                  <a:cubicBezTo>
                    <a:pt x="428196" y="753551"/>
                    <a:pt x="466840" y="1234726"/>
                    <a:pt x="466840" y="1234726"/>
                  </a:cubicBezTo>
                  <a:lnTo>
                    <a:pt x="541634" y="1229740"/>
                  </a:lnTo>
                  <a:cubicBezTo>
                    <a:pt x="541634" y="1229740"/>
                    <a:pt x="665044" y="709921"/>
                    <a:pt x="546620" y="418224"/>
                  </a:cubicBezTo>
                  <a:cubicBezTo>
                    <a:pt x="443155" y="162677"/>
                    <a:pt x="389553" y="9349"/>
                    <a:pt x="389553" y="9349"/>
                  </a:cubicBezTo>
                  <a:lnTo>
                    <a:pt x="9349" y="203814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7" name="任意多边形: 形状 9916">
              <a:extLst>
                <a:ext uri="{FF2B5EF4-FFF2-40B4-BE49-F238E27FC236}">
                  <a16:creationId xmlns:a16="http://schemas.microsoft.com/office/drawing/2014/main" id="{5E7F96F7-857B-4C2B-95EF-00169EAA3F50}"/>
                </a:ext>
              </a:extLst>
            </p:cNvPr>
            <p:cNvSpPr/>
            <p:nvPr/>
          </p:nvSpPr>
          <p:spPr>
            <a:xfrm>
              <a:off x="6022018" y="3365739"/>
              <a:ext cx="498627" cy="797804"/>
            </a:xfrm>
            <a:custGeom>
              <a:avLst/>
              <a:gdLst>
                <a:gd name="connsiteX0" fmla="*/ 210558 w 498627"/>
                <a:gd name="connsiteY0" fmla="*/ 9349 h 797803"/>
                <a:gd name="connsiteX1" fmla="*/ 9860 w 498627"/>
                <a:gd name="connsiteY1" fmla="*/ 296060 h 797803"/>
                <a:gd name="connsiteX2" fmla="*/ 107092 w 498627"/>
                <a:gd name="connsiteY2" fmla="*/ 799673 h 797803"/>
                <a:gd name="connsiteX3" fmla="*/ 493528 w 498627"/>
                <a:gd name="connsiteY3" fmla="*/ 650085 h 797803"/>
                <a:gd name="connsiteX4" fmla="*/ 482309 w 498627"/>
                <a:gd name="connsiteY4" fmla="*/ 527922 h 797803"/>
                <a:gd name="connsiteX5" fmla="*/ 413748 w 498627"/>
                <a:gd name="connsiteY5" fmla="*/ 109075 h 797803"/>
                <a:gd name="connsiteX6" fmla="*/ 373858 w 498627"/>
                <a:gd name="connsiteY6" fmla="*/ 62952 h 797803"/>
                <a:gd name="connsiteX7" fmla="*/ 210558 w 498627"/>
                <a:gd name="connsiteY7" fmla="*/ 9349 h 7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627" h="797803">
                  <a:moveTo>
                    <a:pt x="210558" y="9349"/>
                  </a:moveTo>
                  <a:cubicBezTo>
                    <a:pt x="210558" y="9349"/>
                    <a:pt x="19832" y="74171"/>
                    <a:pt x="9860" y="296060"/>
                  </a:cubicBezTo>
                  <a:cubicBezTo>
                    <a:pt x="1134" y="517949"/>
                    <a:pt x="107092" y="799673"/>
                    <a:pt x="107092" y="799673"/>
                  </a:cubicBezTo>
                  <a:lnTo>
                    <a:pt x="493528" y="650085"/>
                  </a:lnTo>
                  <a:lnTo>
                    <a:pt x="482309" y="527922"/>
                  </a:lnTo>
                  <a:lnTo>
                    <a:pt x="413748" y="109075"/>
                  </a:lnTo>
                  <a:cubicBezTo>
                    <a:pt x="410009" y="87883"/>
                    <a:pt x="395050" y="70431"/>
                    <a:pt x="373858" y="62952"/>
                  </a:cubicBezTo>
                  <a:lnTo>
                    <a:pt x="210558" y="9349"/>
                  </a:lnTo>
                  <a:close/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8" name="任意多边形: 形状 9917">
              <a:extLst>
                <a:ext uri="{FF2B5EF4-FFF2-40B4-BE49-F238E27FC236}">
                  <a16:creationId xmlns:a16="http://schemas.microsoft.com/office/drawing/2014/main" id="{7C102212-EB10-4614-A822-59DE000C5EA3}"/>
                </a:ext>
              </a:extLst>
            </p:cNvPr>
            <p:cNvSpPr/>
            <p:nvPr/>
          </p:nvSpPr>
          <p:spPr>
            <a:xfrm>
              <a:off x="6374061" y="3444273"/>
              <a:ext cx="99725" cy="560956"/>
            </a:xfrm>
            <a:custGeom>
              <a:avLst/>
              <a:gdLst>
                <a:gd name="connsiteX0" fmla="*/ 92869 w 99725"/>
                <a:gd name="connsiteY0" fmla="*/ 556593 h 560955"/>
                <a:gd name="connsiteX1" fmla="*/ 91623 w 99725"/>
                <a:gd name="connsiteY1" fmla="*/ 551606 h 560955"/>
                <a:gd name="connsiteX2" fmla="*/ 89130 w 99725"/>
                <a:gd name="connsiteY2" fmla="*/ 535401 h 560955"/>
                <a:gd name="connsiteX3" fmla="*/ 79157 w 99725"/>
                <a:gd name="connsiteY3" fmla="*/ 476812 h 560955"/>
                <a:gd name="connsiteX4" fmla="*/ 49240 w 99725"/>
                <a:gd name="connsiteY4" fmla="*/ 283594 h 560955"/>
                <a:gd name="connsiteX5" fmla="*/ 20569 w 99725"/>
                <a:gd name="connsiteY5" fmla="*/ 90376 h 560955"/>
                <a:gd name="connsiteX6" fmla="*/ 11843 w 99725"/>
                <a:gd name="connsiteY6" fmla="*/ 31788 h 560955"/>
                <a:gd name="connsiteX7" fmla="*/ 9349 w 99725"/>
                <a:gd name="connsiteY7" fmla="*/ 15582 h 560955"/>
                <a:gd name="connsiteX8" fmla="*/ 9349 w 99725"/>
                <a:gd name="connsiteY8" fmla="*/ 9349 h 560955"/>
                <a:gd name="connsiteX9" fmla="*/ 10596 w 99725"/>
                <a:gd name="connsiteY9" fmla="*/ 14335 h 560955"/>
                <a:gd name="connsiteX10" fmla="*/ 13089 w 99725"/>
                <a:gd name="connsiteY10" fmla="*/ 30541 h 560955"/>
                <a:gd name="connsiteX11" fmla="*/ 23062 w 99725"/>
                <a:gd name="connsiteY11" fmla="*/ 89130 h 560955"/>
                <a:gd name="connsiteX12" fmla="*/ 52979 w 99725"/>
                <a:gd name="connsiteY12" fmla="*/ 282348 h 560955"/>
                <a:gd name="connsiteX13" fmla="*/ 81650 w 99725"/>
                <a:gd name="connsiteY13" fmla="*/ 475566 h 560955"/>
                <a:gd name="connsiteX14" fmla="*/ 90376 w 99725"/>
                <a:gd name="connsiteY14" fmla="*/ 534155 h 560955"/>
                <a:gd name="connsiteX15" fmla="*/ 92869 w 99725"/>
                <a:gd name="connsiteY15" fmla="*/ 550360 h 560955"/>
                <a:gd name="connsiteX16" fmla="*/ 92869 w 99725"/>
                <a:gd name="connsiteY16" fmla="*/ 556593 h 56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725" h="560955">
                  <a:moveTo>
                    <a:pt x="92869" y="556593"/>
                  </a:moveTo>
                  <a:cubicBezTo>
                    <a:pt x="92869" y="556593"/>
                    <a:pt x="91623" y="555346"/>
                    <a:pt x="91623" y="551606"/>
                  </a:cubicBezTo>
                  <a:cubicBezTo>
                    <a:pt x="90376" y="546620"/>
                    <a:pt x="90376" y="541634"/>
                    <a:pt x="89130" y="535401"/>
                  </a:cubicBezTo>
                  <a:cubicBezTo>
                    <a:pt x="86637" y="519196"/>
                    <a:pt x="82897" y="499251"/>
                    <a:pt x="79157" y="476812"/>
                  </a:cubicBezTo>
                  <a:cubicBezTo>
                    <a:pt x="70431" y="423210"/>
                    <a:pt x="60459" y="357142"/>
                    <a:pt x="49240" y="283594"/>
                  </a:cubicBezTo>
                  <a:cubicBezTo>
                    <a:pt x="38021" y="210047"/>
                    <a:pt x="28048" y="143979"/>
                    <a:pt x="20569" y="90376"/>
                  </a:cubicBezTo>
                  <a:cubicBezTo>
                    <a:pt x="16829" y="67938"/>
                    <a:pt x="14336" y="47993"/>
                    <a:pt x="11843" y="31788"/>
                  </a:cubicBezTo>
                  <a:cubicBezTo>
                    <a:pt x="10596" y="25555"/>
                    <a:pt x="10596" y="20568"/>
                    <a:pt x="9349" y="15582"/>
                  </a:cubicBezTo>
                  <a:cubicBezTo>
                    <a:pt x="9349" y="11843"/>
                    <a:pt x="9349" y="10596"/>
                    <a:pt x="9349" y="9349"/>
                  </a:cubicBezTo>
                  <a:cubicBezTo>
                    <a:pt x="9349" y="9349"/>
                    <a:pt x="10596" y="10596"/>
                    <a:pt x="10596" y="14335"/>
                  </a:cubicBezTo>
                  <a:cubicBezTo>
                    <a:pt x="11843" y="19322"/>
                    <a:pt x="11843" y="24308"/>
                    <a:pt x="13089" y="30541"/>
                  </a:cubicBezTo>
                  <a:cubicBezTo>
                    <a:pt x="15582" y="46746"/>
                    <a:pt x="19322" y="66691"/>
                    <a:pt x="23062" y="89130"/>
                  </a:cubicBezTo>
                  <a:cubicBezTo>
                    <a:pt x="31788" y="142732"/>
                    <a:pt x="41760" y="208800"/>
                    <a:pt x="52979" y="282348"/>
                  </a:cubicBezTo>
                  <a:cubicBezTo>
                    <a:pt x="64199" y="355895"/>
                    <a:pt x="74171" y="421963"/>
                    <a:pt x="81650" y="475566"/>
                  </a:cubicBezTo>
                  <a:cubicBezTo>
                    <a:pt x="85390" y="498004"/>
                    <a:pt x="87883" y="517949"/>
                    <a:pt x="90376" y="534155"/>
                  </a:cubicBezTo>
                  <a:cubicBezTo>
                    <a:pt x="91623" y="540387"/>
                    <a:pt x="91623" y="545374"/>
                    <a:pt x="92869" y="550360"/>
                  </a:cubicBezTo>
                  <a:cubicBezTo>
                    <a:pt x="92869" y="554100"/>
                    <a:pt x="92869" y="556593"/>
                    <a:pt x="92869" y="556593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9" name="任意多边形: 形状 9918">
              <a:extLst>
                <a:ext uri="{FF2B5EF4-FFF2-40B4-BE49-F238E27FC236}">
                  <a16:creationId xmlns:a16="http://schemas.microsoft.com/office/drawing/2014/main" id="{7EDAE0D2-2036-42A7-B5DB-9FF77FA3D2B5}"/>
                </a:ext>
              </a:extLst>
            </p:cNvPr>
            <p:cNvSpPr/>
            <p:nvPr/>
          </p:nvSpPr>
          <p:spPr>
            <a:xfrm>
              <a:off x="6189569" y="3365739"/>
              <a:ext cx="186985" cy="87260"/>
            </a:xfrm>
            <a:custGeom>
              <a:avLst/>
              <a:gdLst>
                <a:gd name="connsiteX0" fmla="*/ 43007 w 186985"/>
                <a:gd name="connsiteY0" fmla="*/ 9349 h 87259"/>
                <a:gd name="connsiteX1" fmla="*/ 188855 w 186985"/>
                <a:gd name="connsiteY1" fmla="*/ 49239 h 87259"/>
                <a:gd name="connsiteX2" fmla="*/ 183869 w 186985"/>
                <a:gd name="connsiteY2" fmla="*/ 89130 h 87259"/>
                <a:gd name="connsiteX3" fmla="*/ 9349 w 186985"/>
                <a:gd name="connsiteY3" fmla="*/ 24308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985" h="87259">
                  <a:moveTo>
                    <a:pt x="43007" y="9349"/>
                  </a:moveTo>
                  <a:lnTo>
                    <a:pt x="188855" y="49239"/>
                  </a:lnTo>
                  <a:lnTo>
                    <a:pt x="183869" y="89130"/>
                  </a:lnTo>
                  <a:lnTo>
                    <a:pt x="9349" y="24308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0" name="任意多边形: 形状 9919">
              <a:extLst>
                <a:ext uri="{FF2B5EF4-FFF2-40B4-BE49-F238E27FC236}">
                  <a16:creationId xmlns:a16="http://schemas.microsoft.com/office/drawing/2014/main" id="{2F079919-697A-4024-A8FE-FA3DAD414E57}"/>
                </a:ext>
              </a:extLst>
            </p:cNvPr>
            <p:cNvSpPr/>
            <p:nvPr/>
          </p:nvSpPr>
          <p:spPr>
            <a:xfrm>
              <a:off x="6366582" y="3380698"/>
              <a:ext cx="37397" cy="74794"/>
            </a:xfrm>
            <a:custGeom>
              <a:avLst/>
              <a:gdLst>
                <a:gd name="connsiteX0" fmla="*/ 10596 w 37397"/>
                <a:gd name="connsiteY0" fmla="*/ 33034 h 74794"/>
                <a:gd name="connsiteX1" fmla="*/ 38020 w 37397"/>
                <a:gd name="connsiteY1" fmla="*/ 71678 h 74794"/>
                <a:gd name="connsiteX2" fmla="*/ 36774 w 37397"/>
                <a:gd name="connsiteY2" fmla="*/ 40513 h 74794"/>
                <a:gd name="connsiteX3" fmla="*/ 9349 w 37397"/>
                <a:gd name="connsiteY3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" h="74794">
                  <a:moveTo>
                    <a:pt x="10596" y="33034"/>
                  </a:moveTo>
                  <a:lnTo>
                    <a:pt x="38020" y="71678"/>
                  </a:lnTo>
                  <a:lnTo>
                    <a:pt x="36774" y="40513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1" name="任意多边形: 形状 9920">
              <a:extLst>
                <a:ext uri="{FF2B5EF4-FFF2-40B4-BE49-F238E27FC236}">
                  <a16:creationId xmlns:a16="http://schemas.microsoft.com/office/drawing/2014/main" id="{E9C9733C-6AA7-4FDA-B5DA-93AAD52A320B}"/>
                </a:ext>
              </a:extLst>
            </p:cNvPr>
            <p:cNvSpPr/>
            <p:nvPr/>
          </p:nvSpPr>
          <p:spPr>
            <a:xfrm>
              <a:off x="6364088" y="3406876"/>
              <a:ext cx="37397" cy="87260"/>
            </a:xfrm>
            <a:custGeom>
              <a:avLst/>
              <a:gdLst>
                <a:gd name="connsiteX0" fmla="*/ 14335 w 37397"/>
                <a:gd name="connsiteY0" fmla="*/ 9349 h 87259"/>
                <a:gd name="connsiteX1" fmla="*/ 9349 w 37397"/>
                <a:gd name="connsiteY1" fmla="*/ 47993 h 87259"/>
                <a:gd name="connsiteX2" fmla="*/ 35527 w 37397"/>
                <a:gd name="connsiteY2" fmla="*/ 82897 h 87259"/>
                <a:gd name="connsiteX3" fmla="*/ 39267 w 37397"/>
                <a:gd name="connsiteY3" fmla="*/ 43007 h 87259"/>
                <a:gd name="connsiteX4" fmla="*/ 16829 w 37397"/>
                <a:gd name="connsiteY4" fmla="*/ 11843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87259">
                  <a:moveTo>
                    <a:pt x="14335" y="9349"/>
                  </a:moveTo>
                  <a:lnTo>
                    <a:pt x="9349" y="47993"/>
                  </a:lnTo>
                  <a:lnTo>
                    <a:pt x="35527" y="82897"/>
                  </a:lnTo>
                  <a:lnTo>
                    <a:pt x="39267" y="43007"/>
                  </a:lnTo>
                  <a:lnTo>
                    <a:pt x="16829" y="11843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2" name="任意多边形: 形状 9921">
              <a:extLst>
                <a:ext uri="{FF2B5EF4-FFF2-40B4-BE49-F238E27FC236}">
                  <a16:creationId xmlns:a16="http://schemas.microsoft.com/office/drawing/2014/main" id="{B356D413-3A1A-438F-BC56-0BCA8471132B}"/>
                </a:ext>
              </a:extLst>
            </p:cNvPr>
            <p:cNvSpPr/>
            <p:nvPr/>
          </p:nvSpPr>
          <p:spPr>
            <a:xfrm>
              <a:off x="6116021" y="3460478"/>
              <a:ext cx="361505" cy="486162"/>
            </a:xfrm>
            <a:custGeom>
              <a:avLst/>
              <a:gdLst>
                <a:gd name="connsiteX0" fmla="*/ 279854 w 361504"/>
                <a:gd name="connsiteY0" fmla="*/ 24308 h 486161"/>
                <a:gd name="connsiteX1" fmla="*/ 205060 w 361504"/>
                <a:gd name="connsiteY1" fmla="*/ 335950 h 486161"/>
                <a:gd name="connsiteX2" fmla="*/ 47993 w 361504"/>
                <a:gd name="connsiteY2" fmla="*/ 393292 h 486161"/>
                <a:gd name="connsiteX3" fmla="*/ 9349 w 361504"/>
                <a:gd name="connsiteY3" fmla="*/ 466840 h 486161"/>
                <a:gd name="connsiteX4" fmla="*/ 101595 w 361504"/>
                <a:gd name="connsiteY4" fmla="*/ 480552 h 486161"/>
                <a:gd name="connsiteX5" fmla="*/ 357142 w 361504"/>
                <a:gd name="connsiteY5" fmla="*/ 246197 h 486161"/>
                <a:gd name="connsiteX6" fmla="*/ 284841 w 361504"/>
                <a:gd name="connsiteY6" fmla="*/ 9349 h 486161"/>
                <a:gd name="connsiteX7" fmla="*/ 279854 w 361504"/>
                <a:gd name="connsiteY7" fmla="*/ 24308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1504" h="486161">
                  <a:moveTo>
                    <a:pt x="279854" y="24308"/>
                  </a:moveTo>
                  <a:cubicBezTo>
                    <a:pt x="279854" y="24308"/>
                    <a:pt x="319745" y="287334"/>
                    <a:pt x="205060" y="335950"/>
                  </a:cubicBezTo>
                  <a:cubicBezTo>
                    <a:pt x="90376" y="384566"/>
                    <a:pt x="47993" y="393292"/>
                    <a:pt x="47993" y="393292"/>
                  </a:cubicBezTo>
                  <a:lnTo>
                    <a:pt x="9349" y="466840"/>
                  </a:lnTo>
                  <a:lnTo>
                    <a:pt x="101595" y="480552"/>
                  </a:lnTo>
                  <a:cubicBezTo>
                    <a:pt x="101595" y="480552"/>
                    <a:pt x="369607" y="416977"/>
                    <a:pt x="357142" y="246197"/>
                  </a:cubicBezTo>
                  <a:cubicBezTo>
                    <a:pt x="344676" y="76664"/>
                    <a:pt x="284841" y="9349"/>
                    <a:pt x="284841" y="9349"/>
                  </a:cubicBezTo>
                  <a:lnTo>
                    <a:pt x="279854" y="24308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3" name="任意多边形: 形状 9922">
              <a:extLst>
                <a:ext uri="{FF2B5EF4-FFF2-40B4-BE49-F238E27FC236}">
                  <a16:creationId xmlns:a16="http://schemas.microsoft.com/office/drawing/2014/main" id="{090C6981-CA4A-462A-92A5-D01C5D1408CB}"/>
                </a:ext>
              </a:extLst>
            </p:cNvPr>
            <p:cNvSpPr/>
            <p:nvPr/>
          </p:nvSpPr>
          <p:spPr>
            <a:xfrm>
              <a:off x="6132227" y="3441780"/>
              <a:ext cx="710544" cy="349039"/>
            </a:xfrm>
            <a:custGeom>
              <a:avLst/>
              <a:gdLst>
                <a:gd name="connsiteX0" fmla="*/ 9349 w 710543"/>
                <a:gd name="connsiteY0" fmla="*/ 178882 h 349039"/>
                <a:gd name="connsiteX1" fmla="*/ 363375 w 710543"/>
                <a:gd name="connsiteY1" fmla="*/ 347169 h 349039"/>
                <a:gd name="connsiteX2" fmla="*/ 708674 w 710543"/>
                <a:gd name="connsiteY2" fmla="*/ 322238 h 349039"/>
                <a:gd name="connsiteX3" fmla="*/ 701195 w 710543"/>
                <a:gd name="connsiteY3" fmla="*/ 225005 h 349039"/>
                <a:gd name="connsiteX4" fmla="*/ 418224 w 710543"/>
                <a:gd name="connsiteY4" fmla="*/ 222512 h 349039"/>
                <a:gd name="connsiteX5" fmla="*/ 91623 w 710543"/>
                <a:gd name="connsiteY5" fmla="*/ 9349 h 34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543" h="349039">
                  <a:moveTo>
                    <a:pt x="9349" y="178882"/>
                  </a:moveTo>
                  <a:lnTo>
                    <a:pt x="363375" y="347169"/>
                  </a:lnTo>
                  <a:lnTo>
                    <a:pt x="708674" y="322238"/>
                  </a:lnTo>
                  <a:lnTo>
                    <a:pt x="701195" y="225005"/>
                  </a:lnTo>
                  <a:lnTo>
                    <a:pt x="418224" y="222512"/>
                  </a:lnTo>
                  <a:lnTo>
                    <a:pt x="91623" y="9349"/>
                  </a:lnTo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4" name="任意多边形: 形状 9923">
              <a:extLst>
                <a:ext uri="{FF2B5EF4-FFF2-40B4-BE49-F238E27FC236}">
                  <a16:creationId xmlns:a16="http://schemas.microsoft.com/office/drawing/2014/main" id="{2F45A27A-0C88-420D-BCC4-E3D41D9D5845}"/>
                </a:ext>
              </a:extLst>
            </p:cNvPr>
            <p:cNvSpPr/>
            <p:nvPr/>
          </p:nvSpPr>
          <p:spPr>
            <a:xfrm>
              <a:off x="6133473" y="3626272"/>
              <a:ext cx="361505" cy="162054"/>
            </a:xfrm>
            <a:custGeom>
              <a:avLst/>
              <a:gdLst>
                <a:gd name="connsiteX0" fmla="*/ 9349 w 361504"/>
                <a:gd name="connsiteY0" fmla="*/ 9349 h 162053"/>
                <a:gd name="connsiteX1" fmla="*/ 23062 w 361504"/>
                <a:gd name="connsiteY1" fmla="*/ 15582 h 162053"/>
                <a:gd name="connsiteX2" fmla="*/ 60459 w 361504"/>
                <a:gd name="connsiteY2" fmla="*/ 33034 h 162053"/>
                <a:gd name="connsiteX3" fmla="*/ 186362 w 361504"/>
                <a:gd name="connsiteY3" fmla="*/ 82897 h 162053"/>
                <a:gd name="connsiteX4" fmla="*/ 312265 w 361504"/>
                <a:gd name="connsiteY4" fmla="*/ 135253 h 162053"/>
                <a:gd name="connsiteX5" fmla="*/ 349662 w 361504"/>
                <a:gd name="connsiteY5" fmla="*/ 153951 h 162053"/>
                <a:gd name="connsiteX6" fmla="*/ 362128 w 361504"/>
                <a:gd name="connsiteY6" fmla="*/ 161431 h 162053"/>
                <a:gd name="connsiteX7" fmla="*/ 348416 w 361504"/>
                <a:gd name="connsiteY7" fmla="*/ 155198 h 162053"/>
                <a:gd name="connsiteX8" fmla="*/ 311019 w 361504"/>
                <a:gd name="connsiteY8" fmla="*/ 137746 h 162053"/>
                <a:gd name="connsiteX9" fmla="*/ 185115 w 361504"/>
                <a:gd name="connsiteY9" fmla="*/ 87883 h 162053"/>
                <a:gd name="connsiteX10" fmla="*/ 59212 w 361504"/>
                <a:gd name="connsiteY10" fmla="*/ 35527 h 162053"/>
                <a:gd name="connsiteX11" fmla="*/ 21815 w 361504"/>
                <a:gd name="connsiteY11" fmla="*/ 16829 h 162053"/>
                <a:gd name="connsiteX12" fmla="*/ 9349 w 361504"/>
                <a:gd name="connsiteY1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504" h="162053">
                  <a:moveTo>
                    <a:pt x="9349" y="9349"/>
                  </a:moveTo>
                  <a:cubicBezTo>
                    <a:pt x="9349" y="9349"/>
                    <a:pt x="14335" y="11843"/>
                    <a:pt x="23062" y="15582"/>
                  </a:cubicBezTo>
                  <a:cubicBezTo>
                    <a:pt x="31787" y="19322"/>
                    <a:pt x="44253" y="25554"/>
                    <a:pt x="60459" y="33034"/>
                  </a:cubicBezTo>
                  <a:cubicBezTo>
                    <a:pt x="91623" y="46746"/>
                    <a:pt x="136499" y="64198"/>
                    <a:pt x="186362" y="82897"/>
                  </a:cubicBezTo>
                  <a:cubicBezTo>
                    <a:pt x="236225" y="101595"/>
                    <a:pt x="281101" y="120294"/>
                    <a:pt x="312265" y="135253"/>
                  </a:cubicBezTo>
                  <a:cubicBezTo>
                    <a:pt x="328471" y="142732"/>
                    <a:pt x="340937" y="148965"/>
                    <a:pt x="349662" y="153951"/>
                  </a:cubicBezTo>
                  <a:cubicBezTo>
                    <a:pt x="358388" y="158937"/>
                    <a:pt x="362128" y="161431"/>
                    <a:pt x="362128" y="161431"/>
                  </a:cubicBezTo>
                  <a:cubicBezTo>
                    <a:pt x="362128" y="161431"/>
                    <a:pt x="357142" y="158937"/>
                    <a:pt x="348416" y="155198"/>
                  </a:cubicBezTo>
                  <a:cubicBezTo>
                    <a:pt x="339690" y="151458"/>
                    <a:pt x="327224" y="145225"/>
                    <a:pt x="311019" y="137746"/>
                  </a:cubicBezTo>
                  <a:cubicBezTo>
                    <a:pt x="279855" y="124034"/>
                    <a:pt x="234978" y="106581"/>
                    <a:pt x="185115" y="87883"/>
                  </a:cubicBezTo>
                  <a:cubicBezTo>
                    <a:pt x="135253" y="69184"/>
                    <a:pt x="90376" y="50486"/>
                    <a:pt x="59212" y="35527"/>
                  </a:cubicBezTo>
                  <a:cubicBezTo>
                    <a:pt x="43007" y="28048"/>
                    <a:pt x="30541" y="21815"/>
                    <a:pt x="21815" y="16829"/>
                  </a:cubicBezTo>
                  <a:cubicBezTo>
                    <a:pt x="14335" y="13089"/>
                    <a:pt x="9349" y="9349"/>
                    <a:pt x="9349" y="9349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5" name="任意多边形: 形状 9924">
              <a:extLst>
                <a:ext uri="{FF2B5EF4-FFF2-40B4-BE49-F238E27FC236}">
                  <a16:creationId xmlns:a16="http://schemas.microsoft.com/office/drawing/2014/main" id="{610EEB47-B0EB-4DCD-BE66-C9E262430C2B}"/>
                </a:ext>
              </a:extLst>
            </p:cNvPr>
            <p:cNvSpPr/>
            <p:nvPr/>
          </p:nvSpPr>
          <p:spPr>
            <a:xfrm>
              <a:off x="6259377" y="3470126"/>
              <a:ext cx="274245" cy="186985"/>
            </a:xfrm>
            <a:custGeom>
              <a:avLst/>
              <a:gdLst>
                <a:gd name="connsiteX0" fmla="*/ 274868 w 274245"/>
                <a:gd name="connsiteY0" fmla="*/ 186686 h 186985"/>
                <a:gd name="connsiteX1" fmla="*/ 263649 w 274245"/>
                <a:gd name="connsiteY1" fmla="*/ 181700 h 186985"/>
                <a:gd name="connsiteX2" fmla="*/ 233732 w 274245"/>
                <a:gd name="connsiteY2" fmla="*/ 164248 h 186985"/>
                <a:gd name="connsiteX3" fmla="*/ 140239 w 274245"/>
                <a:gd name="connsiteY3" fmla="*/ 100673 h 186985"/>
                <a:gd name="connsiteX4" fmla="*/ 47993 w 274245"/>
                <a:gd name="connsiteY4" fmla="*/ 35852 h 186985"/>
                <a:gd name="connsiteX5" fmla="*/ 19322 w 274245"/>
                <a:gd name="connsiteY5" fmla="*/ 17153 h 186985"/>
                <a:gd name="connsiteX6" fmla="*/ 9349 w 274245"/>
                <a:gd name="connsiteY6" fmla="*/ 9674 h 186985"/>
                <a:gd name="connsiteX7" fmla="*/ 20568 w 274245"/>
                <a:gd name="connsiteY7" fmla="*/ 14660 h 186985"/>
                <a:gd name="connsiteX8" fmla="*/ 50486 w 274245"/>
                <a:gd name="connsiteY8" fmla="*/ 32112 h 186985"/>
                <a:gd name="connsiteX9" fmla="*/ 143978 w 274245"/>
                <a:gd name="connsiteY9" fmla="*/ 95687 h 186985"/>
                <a:gd name="connsiteX10" fmla="*/ 236224 w 274245"/>
                <a:gd name="connsiteY10" fmla="*/ 160508 h 186985"/>
                <a:gd name="connsiteX11" fmla="*/ 264896 w 274245"/>
                <a:gd name="connsiteY11" fmla="*/ 179207 h 186985"/>
                <a:gd name="connsiteX12" fmla="*/ 274868 w 274245"/>
                <a:gd name="connsiteY12" fmla="*/ 186686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4245" h="186985">
                  <a:moveTo>
                    <a:pt x="274868" y="186686"/>
                  </a:moveTo>
                  <a:cubicBezTo>
                    <a:pt x="274868" y="186686"/>
                    <a:pt x="271129" y="185440"/>
                    <a:pt x="263649" y="181700"/>
                  </a:cubicBezTo>
                  <a:cubicBezTo>
                    <a:pt x="256170" y="177960"/>
                    <a:pt x="246197" y="171727"/>
                    <a:pt x="233732" y="164248"/>
                  </a:cubicBezTo>
                  <a:cubicBezTo>
                    <a:pt x="208800" y="149289"/>
                    <a:pt x="176389" y="126851"/>
                    <a:pt x="140239" y="100673"/>
                  </a:cubicBezTo>
                  <a:cubicBezTo>
                    <a:pt x="104089" y="74495"/>
                    <a:pt x="71678" y="52057"/>
                    <a:pt x="47993" y="35852"/>
                  </a:cubicBezTo>
                  <a:cubicBezTo>
                    <a:pt x="38020" y="29619"/>
                    <a:pt x="28048" y="23386"/>
                    <a:pt x="19322" y="17153"/>
                  </a:cubicBezTo>
                  <a:cubicBezTo>
                    <a:pt x="13089" y="13413"/>
                    <a:pt x="9349" y="10920"/>
                    <a:pt x="9349" y="9674"/>
                  </a:cubicBezTo>
                  <a:cubicBezTo>
                    <a:pt x="9349" y="8427"/>
                    <a:pt x="13089" y="10920"/>
                    <a:pt x="20568" y="14660"/>
                  </a:cubicBezTo>
                  <a:cubicBezTo>
                    <a:pt x="28048" y="18400"/>
                    <a:pt x="38020" y="24633"/>
                    <a:pt x="50486" y="32112"/>
                  </a:cubicBezTo>
                  <a:cubicBezTo>
                    <a:pt x="75417" y="47071"/>
                    <a:pt x="107828" y="69509"/>
                    <a:pt x="143978" y="95687"/>
                  </a:cubicBezTo>
                  <a:cubicBezTo>
                    <a:pt x="180129" y="121865"/>
                    <a:pt x="212540" y="144303"/>
                    <a:pt x="236224" y="160508"/>
                  </a:cubicBezTo>
                  <a:cubicBezTo>
                    <a:pt x="246197" y="166741"/>
                    <a:pt x="256170" y="172974"/>
                    <a:pt x="264896" y="179207"/>
                  </a:cubicBezTo>
                  <a:cubicBezTo>
                    <a:pt x="271129" y="184193"/>
                    <a:pt x="274868" y="186686"/>
                    <a:pt x="274868" y="186686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6" name="任意多边形: 形状 9925">
              <a:extLst>
                <a:ext uri="{FF2B5EF4-FFF2-40B4-BE49-F238E27FC236}">
                  <a16:creationId xmlns:a16="http://schemas.microsoft.com/office/drawing/2014/main" id="{39F043D9-42F0-49B8-AE79-EDAF9D0D68DF}"/>
                </a:ext>
              </a:extLst>
            </p:cNvPr>
            <p:cNvSpPr/>
            <p:nvPr/>
          </p:nvSpPr>
          <p:spPr>
            <a:xfrm>
              <a:off x="6766973" y="3658683"/>
              <a:ext cx="24931" cy="112191"/>
            </a:xfrm>
            <a:custGeom>
              <a:avLst/>
              <a:gdLst>
                <a:gd name="connsiteX0" fmla="*/ 22818 w 24931"/>
                <a:gd name="connsiteY0" fmla="*/ 107828 h 112191"/>
                <a:gd name="connsiteX1" fmla="*/ 14093 w 24931"/>
                <a:gd name="connsiteY1" fmla="*/ 59212 h 112191"/>
                <a:gd name="connsiteX2" fmla="*/ 10353 w 24931"/>
                <a:gd name="connsiteY2" fmla="*/ 9349 h 112191"/>
                <a:gd name="connsiteX3" fmla="*/ 19079 w 24931"/>
                <a:gd name="connsiteY3" fmla="*/ 57965 h 112191"/>
                <a:gd name="connsiteX4" fmla="*/ 22818 w 24931"/>
                <a:gd name="connsiteY4" fmla="*/ 10782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112191">
                  <a:moveTo>
                    <a:pt x="22818" y="107828"/>
                  </a:moveTo>
                  <a:cubicBezTo>
                    <a:pt x="21572" y="107828"/>
                    <a:pt x="17832" y="86636"/>
                    <a:pt x="14093" y="59212"/>
                  </a:cubicBezTo>
                  <a:cubicBezTo>
                    <a:pt x="10353" y="31787"/>
                    <a:pt x="7860" y="9349"/>
                    <a:pt x="10353" y="9349"/>
                  </a:cubicBezTo>
                  <a:cubicBezTo>
                    <a:pt x="11599" y="9349"/>
                    <a:pt x="15339" y="30541"/>
                    <a:pt x="19079" y="57965"/>
                  </a:cubicBezTo>
                  <a:cubicBezTo>
                    <a:pt x="22818" y="85390"/>
                    <a:pt x="24065" y="107828"/>
                    <a:pt x="22818" y="107828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7" name="任意多边形: 形状 9926">
              <a:extLst>
                <a:ext uri="{FF2B5EF4-FFF2-40B4-BE49-F238E27FC236}">
                  <a16:creationId xmlns:a16="http://schemas.microsoft.com/office/drawing/2014/main" id="{7F392A2C-914D-4CD8-8DD9-9F2A8DCFE349}"/>
                </a:ext>
              </a:extLst>
            </p:cNvPr>
            <p:cNvSpPr/>
            <p:nvPr/>
          </p:nvSpPr>
          <p:spPr>
            <a:xfrm>
              <a:off x="6780442" y="3716940"/>
              <a:ext cx="62328" cy="24931"/>
            </a:xfrm>
            <a:custGeom>
              <a:avLst/>
              <a:gdLst>
                <a:gd name="connsiteX0" fmla="*/ 57965 w 62328"/>
                <a:gd name="connsiteY0" fmla="*/ 9681 h 24931"/>
                <a:gd name="connsiteX1" fmla="*/ 34281 w 62328"/>
                <a:gd name="connsiteY1" fmla="*/ 18407 h 24931"/>
                <a:gd name="connsiteX2" fmla="*/ 9349 w 62328"/>
                <a:gd name="connsiteY2" fmla="*/ 19653 h 24931"/>
                <a:gd name="connsiteX3" fmla="*/ 33034 w 62328"/>
                <a:gd name="connsiteY3" fmla="*/ 13421 h 24931"/>
                <a:gd name="connsiteX4" fmla="*/ 57965 w 62328"/>
                <a:gd name="connsiteY4" fmla="*/ 9681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28" h="24931">
                  <a:moveTo>
                    <a:pt x="57965" y="9681"/>
                  </a:moveTo>
                  <a:cubicBezTo>
                    <a:pt x="57965" y="10927"/>
                    <a:pt x="47993" y="15914"/>
                    <a:pt x="34281" y="18407"/>
                  </a:cubicBezTo>
                  <a:cubicBezTo>
                    <a:pt x="20568" y="20900"/>
                    <a:pt x="9349" y="20900"/>
                    <a:pt x="9349" y="19653"/>
                  </a:cubicBezTo>
                  <a:cubicBezTo>
                    <a:pt x="9349" y="18407"/>
                    <a:pt x="20568" y="15914"/>
                    <a:pt x="33034" y="13421"/>
                  </a:cubicBezTo>
                  <a:cubicBezTo>
                    <a:pt x="46746" y="10927"/>
                    <a:pt x="56719" y="8434"/>
                    <a:pt x="57965" y="9681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8" name="任意多边形: 形状 9927">
              <a:extLst>
                <a:ext uri="{FF2B5EF4-FFF2-40B4-BE49-F238E27FC236}">
                  <a16:creationId xmlns:a16="http://schemas.microsoft.com/office/drawing/2014/main" id="{4183CBC4-5E47-4DFB-AC76-8AE4E5799B5C}"/>
                </a:ext>
              </a:extLst>
            </p:cNvPr>
            <p:cNvSpPr/>
            <p:nvPr/>
          </p:nvSpPr>
          <p:spPr>
            <a:xfrm>
              <a:off x="6278960" y="5253598"/>
              <a:ext cx="211917" cy="62328"/>
            </a:xfrm>
            <a:custGeom>
              <a:avLst/>
              <a:gdLst>
                <a:gd name="connsiteX0" fmla="*/ 18437 w 211916"/>
                <a:gd name="connsiteY0" fmla="*/ 15028 h 62328"/>
                <a:gd name="connsiteX1" fmla="*/ 9711 w 211916"/>
                <a:gd name="connsiteY1" fmla="*/ 56164 h 62328"/>
                <a:gd name="connsiteX2" fmla="*/ 211655 w 211916"/>
                <a:gd name="connsiteY2" fmla="*/ 41206 h 62328"/>
                <a:gd name="connsiteX3" fmla="*/ 58327 w 211916"/>
                <a:gd name="connsiteY3" fmla="*/ 11288 h 62328"/>
                <a:gd name="connsiteX4" fmla="*/ 18437 w 211916"/>
                <a:gd name="connsiteY4" fmla="*/ 15028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916" h="62328">
                  <a:moveTo>
                    <a:pt x="18437" y="15028"/>
                  </a:moveTo>
                  <a:cubicBezTo>
                    <a:pt x="18437" y="15028"/>
                    <a:pt x="7218" y="36219"/>
                    <a:pt x="9711" y="56164"/>
                  </a:cubicBezTo>
                  <a:lnTo>
                    <a:pt x="211655" y="41206"/>
                  </a:lnTo>
                  <a:cubicBezTo>
                    <a:pt x="211655" y="41206"/>
                    <a:pt x="229107" y="69"/>
                    <a:pt x="58327" y="11288"/>
                  </a:cubicBezTo>
                  <a:lnTo>
                    <a:pt x="18437" y="15028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9" name="任意多边形: 形状 9928">
              <a:extLst>
                <a:ext uri="{FF2B5EF4-FFF2-40B4-BE49-F238E27FC236}">
                  <a16:creationId xmlns:a16="http://schemas.microsoft.com/office/drawing/2014/main" id="{D8DEDE4E-4891-4CA6-BBFC-E869550338DE}"/>
                </a:ext>
              </a:extLst>
            </p:cNvPr>
            <p:cNvSpPr/>
            <p:nvPr/>
          </p:nvSpPr>
          <p:spPr>
            <a:xfrm>
              <a:off x="6585616" y="5231778"/>
              <a:ext cx="224382" cy="62328"/>
            </a:xfrm>
            <a:custGeom>
              <a:avLst/>
              <a:gdLst>
                <a:gd name="connsiteX0" fmla="*/ 18437 w 224382"/>
                <a:gd name="connsiteY0" fmla="*/ 14409 h 62328"/>
                <a:gd name="connsiteX1" fmla="*/ 9711 w 224382"/>
                <a:gd name="connsiteY1" fmla="*/ 55546 h 62328"/>
                <a:gd name="connsiteX2" fmla="*/ 224121 w 224382"/>
                <a:gd name="connsiteY2" fmla="*/ 39340 h 62328"/>
                <a:gd name="connsiteX3" fmla="*/ 57081 w 224382"/>
                <a:gd name="connsiteY3" fmla="*/ 10669 h 62328"/>
                <a:gd name="connsiteX4" fmla="*/ 18437 w 224382"/>
                <a:gd name="connsiteY4" fmla="*/ 1440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62328">
                  <a:moveTo>
                    <a:pt x="18437" y="14409"/>
                  </a:moveTo>
                  <a:cubicBezTo>
                    <a:pt x="18437" y="14409"/>
                    <a:pt x="7218" y="35600"/>
                    <a:pt x="9711" y="55546"/>
                  </a:cubicBezTo>
                  <a:lnTo>
                    <a:pt x="224121" y="39340"/>
                  </a:lnTo>
                  <a:cubicBezTo>
                    <a:pt x="224121" y="39340"/>
                    <a:pt x="230353" y="1943"/>
                    <a:pt x="57081" y="10669"/>
                  </a:cubicBezTo>
                  <a:lnTo>
                    <a:pt x="18437" y="1440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0" name="任意多边形: 形状 9929">
              <a:extLst>
                <a:ext uri="{FF2B5EF4-FFF2-40B4-BE49-F238E27FC236}">
                  <a16:creationId xmlns:a16="http://schemas.microsoft.com/office/drawing/2014/main" id="{55C02AEC-EDF9-4325-8D0E-71E2C32B06CC}"/>
                </a:ext>
              </a:extLst>
            </p:cNvPr>
            <p:cNvSpPr/>
            <p:nvPr/>
          </p:nvSpPr>
          <p:spPr>
            <a:xfrm>
              <a:off x="6350188" y="5245330"/>
              <a:ext cx="49863" cy="37397"/>
            </a:xfrm>
            <a:custGeom>
              <a:avLst/>
              <a:gdLst>
                <a:gd name="connsiteX0" fmla="*/ 41948 w 49862"/>
                <a:gd name="connsiteY0" fmla="*/ 9583 h 37397"/>
                <a:gd name="connsiteX1" fmla="*/ 25743 w 49862"/>
                <a:gd name="connsiteY1" fmla="*/ 24542 h 37397"/>
                <a:gd name="connsiteX2" fmla="*/ 9538 w 49862"/>
                <a:gd name="connsiteY2" fmla="*/ 38254 h 37397"/>
                <a:gd name="connsiteX3" fmla="*/ 23250 w 49862"/>
                <a:gd name="connsiteY3" fmla="*/ 20802 h 37397"/>
                <a:gd name="connsiteX4" fmla="*/ 41948 w 49862"/>
                <a:gd name="connsiteY4" fmla="*/ 9583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583"/>
                  </a:moveTo>
                  <a:cubicBezTo>
                    <a:pt x="43195" y="10830"/>
                    <a:pt x="34469" y="15816"/>
                    <a:pt x="25743" y="24542"/>
                  </a:cubicBezTo>
                  <a:cubicBezTo>
                    <a:pt x="17017" y="32021"/>
                    <a:pt x="9538" y="39501"/>
                    <a:pt x="9538" y="38254"/>
                  </a:cubicBezTo>
                  <a:cubicBezTo>
                    <a:pt x="8291" y="37008"/>
                    <a:pt x="13277" y="28282"/>
                    <a:pt x="23250" y="20802"/>
                  </a:cubicBezTo>
                  <a:cubicBezTo>
                    <a:pt x="30729" y="12076"/>
                    <a:pt x="40702" y="8336"/>
                    <a:pt x="41948" y="95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1" name="任意多边形: 形状 9930">
              <a:extLst>
                <a:ext uri="{FF2B5EF4-FFF2-40B4-BE49-F238E27FC236}">
                  <a16:creationId xmlns:a16="http://schemas.microsoft.com/office/drawing/2014/main" id="{D569F13F-1ED4-4EEA-8230-FA3A2BEDA359}"/>
                </a:ext>
              </a:extLst>
            </p:cNvPr>
            <p:cNvSpPr/>
            <p:nvPr/>
          </p:nvSpPr>
          <p:spPr>
            <a:xfrm>
              <a:off x="6367669" y="5249065"/>
              <a:ext cx="49863" cy="37397"/>
            </a:xfrm>
            <a:custGeom>
              <a:avLst/>
              <a:gdLst>
                <a:gd name="connsiteX0" fmla="*/ 40672 w 49862"/>
                <a:gd name="connsiteY0" fmla="*/ 9588 h 37397"/>
                <a:gd name="connsiteX1" fmla="*/ 25714 w 49862"/>
                <a:gd name="connsiteY1" fmla="*/ 23300 h 37397"/>
                <a:gd name="connsiteX2" fmla="*/ 9508 w 49862"/>
                <a:gd name="connsiteY2" fmla="*/ 34520 h 37397"/>
                <a:gd name="connsiteX3" fmla="*/ 23220 w 49862"/>
                <a:gd name="connsiteY3" fmla="*/ 18314 h 37397"/>
                <a:gd name="connsiteX4" fmla="*/ 40672 w 49862"/>
                <a:gd name="connsiteY4" fmla="*/ 9588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0672" y="9588"/>
                  </a:moveTo>
                  <a:cubicBezTo>
                    <a:pt x="41919" y="10834"/>
                    <a:pt x="34439" y="15821"/>
                    <a:pt x="25714" y="23300"/>
                  </a:cubicBezTo>
                  <a:cubicBezTo>
                    <a:pt x="16988" y="29533"/>
                    <a:pt x="9508" y="35766"/>
                    <a:pt x="9508" y="34520"/>
                  </a:cubicBezTo>
                  <a:cubicBezTo>
                    <a:pt x="8262" y="33273"/>
                    <a:pt x="14495" y="25793"/>
                    <a:pt x="23220" y="18314"/>
                  </a:cubicBezTo>
                  <a:cubicBezTo>
                    <a:pt x="31946" y="12081"/>
                    <a:pt x="40672" y="8341"/>
                    <a:pt x="40672" y="958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2" name="任意多边形: 形状 9931">
              <a:extLst>
                <a:ext uri="{FF2B5EF4-FFF2-40B4-BE49-F238E27FC236}">
                  <a16:creationId xmlns:a16="http://schemas.microsoft.com/office/drawing/2014/main" id="{C1EE6804-D2A8-4AD3-90ED-607FA6D1969A}"/>
                </a:ext>
              </a:extLst>
            </p:cNvPr>
            <p:cNvSpPr/>
            <p:nvPr/>
          </p:nvSpPr>
          <p:spPr>
            <a:xfrm>
              <a:off x="6388832" y="5248986"/>
              <a:ext cx="49863" cy="37397"/>
            </a:xfrm>
            <a:custGeom>
              <a:avLst/>
              <a:gdLst>
                <a:gd name="connsiteX0" fmla="*/ 41948 w 49862"/>
                <a:gd name="connsiteY0" fmla="*/ 9667 h 37397"/>
                <a:gd name="connsiteX1" fmla="*/ 25743 w 49862"/>
                <a:gd name="connsiteY1" fmla="*/ 20886 h 37397"/>
                <a:gd name="connsiteX2" fmla="*/ 9538 w 49862"/>
                <a:gd name="connsiteY2" fmla="*/ 32105 h 37397"/>
                <a:gd name="connsiteX3" fmla="*/ 23250 w 49862"/>
                <a:gd name="connsiteY3" fmla="*/ 15900 h 37397"/>
                <a:gd name="connsiteX4" fmla="*/ 41948 w 49862"/>
                <a:gd name="connsiteY4" fmla="*/ 9667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667"/>
                  </a:moveTo>
                  <a:cubicBezTo>
                    <a:pt x="41948" y="10913"/>
                    <a:pt x="34469" y="14653"/>
                    <a:pt x="25743" y="20886"/>
                  </a:cubicBezTo>
                  <a:cubicBezTo>
                    <a:pt x="17017" y="27119"/>
                    <a:pt x="10784" y="33352"/>
                    <a:pt x="9538" y="32105"/>
                  </a:cubicBezTo>
                  <a:cubicBezTo>
                    <a:pt x="8291" y="30858"/>
                    <a:pt x="13277" y="23379"/>
                    <a:pt x="23250" y="15900"/>
                  </a:cubicBezTo>
                  <a:cubicBezTo>
                    <a:pt x="31976" y="10913"/>
                    <a:pt x="41948" y="8420"/>
                    <a:pt x="41948" y="966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3" name="任意多边形: 形状 9932">
              <a:extLst>
                <a:ext uri="{FF2B5EF4-FFF2-40B4-BE49-F238E27FC236}">
                  <a16:creationId xmlns:a16="http://schemas.microsoft.com/office/drawing/2014/main" id="{680B4BEB-2AC9-4363-A750-B4437758A5B1}"/>
                </a:ext>
              </a:extLst>
            </p:cNvPr>
            <p:cNvSpPr/>
            <p:nvPr/>
          </p:nvSpPr>
          <p:spPr>
            <a:xfrm>
              <a:off x="6322759" y="5225371"/>
              <a:ext cx="49863" cy="49863"/>
            </a:xfrm>
            <a:custGeom>
              <a:avLst/>
              <a:gdLst>
                <a:gd name="connsiteX0" fmla="*/ 36966 w 49862"/>
                <a:gd name="connsiteY0" fmla="*/ 48240 h 49862"/>
                <a:gd name="connsiteX1" fmla="*/ 33227 w 49862"/>
                <a:gd name="connsiteY1" fmla="*/ 25802 h 49862"/>
                <a:gd name="connsiteX2" fmla="*/ 35720 w 49862"/>
                <a:gd name="connsiteY2" fmla="*/ 14583 h 49862"/>
                <a:gd name="connsiteX3" fmla="*/ 40706 w 49862"/>
                <a:gd name="connsiteY3" fmla="*/ 9597 h 49862"/>
                <a:gd name="connsiteX4" fmla="*/ 48186 w 49862"/>
                <a:gd name="connsiteY4" fmla="*/ 14583 h 49862"/>
                <a:gd name="connsiteX5" fmla="*/ 45693 w 49862"/>
                <a:gd name="connsiteY5" fmla="*/ 29542 h 49862"/>
                <a:gd name="connsiteX6" fmla="*/ 43199 w 49862"/>
                <a:gd name="connsiteY6" fmla="*/ 37021 h 49862"/>
                <a:gd name="connsiteX7" fmla="*/ 41953 w 49862"/>
                <a:gd name="connsiteY7" fmla="*/ 40761 h 49862"/>
                <a:gd name="connsiteX8" fmla="*/ 40706 w 49862"/>
                <a:gd name="connsiteY8" fmla="*/ 43254 h 49862"/>
                <a:gd name="connsiteX9" fmla="*/ 36966 w 49862"/>
                <a:gd name="connsiteY9" fmla="*/ 44501 h 49862"/>
                <a:gd name="connsiteX10" fmla="*/ 10788 w 49862"/>
                <a:gd name="connsiteY10" fmla="*/ 28295 h 49862"/>
                <a:gd name="connsiteX11" fmla="*/ 10788 w 49862"/>
                <a:gd name="connsiteY11" fmla="*/ 19570 h 49862"/>
                <a:gd name="connsiteX12" fmla="*/ 18268 w 49862"/>
                <a:gd name="connsiteY12" fmla="*/ 17076 h 49862"/>
                <a:gd name="connsiteX13" fmla="*/ 28241 w 49862"/>
                <a:gd name="connsiteY13" fmla="*/ 24556 h 49862"/>
                <a:gd name="connsiteX14" fmla="*/ 34474 w 49862"/>
                <a:gd name="connsiteY14" fmla="*/ 45748 h 49862"/>
                <a:gd name="connsiteX15" fmla="*/ 25747 w 49862"/>
                <a:gd name="connsiteY15" fmla="*/ 25802 h 49862"/>
                <a:gd name="connsiteX16" fmla="*/ 18268 w 49862"/>
                <a:gd name="connsiteY16" fmla="*/ 20816 h 49862"/>
                <a:gd name="connsiteX17" fmla="*/ 15775 w 49862"/>
                <a:gd name="connsiteY17" fmla="*/ 25802 h 49862"/>
                <a:gd name="connsiteX18" fmla="*/ 38213 w 49862"/>
                <a:gd name="connsiteY18" fmla="*/ 39515 h 49862"/>
                <a:gd name="connsiteX19" fmla="*/ 39460 w 49862"/>
                <a:gd name="connsiteY19" fmla="*/ 35775 h 49862"/>
                <a:gd name="connsiteX20" fmla="*/ 41953 w 49862"/>
                <a:gd name="connsiteY20" fmla="*/ 28295 h 49862"/>
                <a:gd name="connsiteX21" fmla="*/ 44446 w 49862"/>
                <a:gd name="connsiteY21" fmla="*/ 15830 h 49862"/>
                <a:gd name="connsiteX22" fmla="*/ 39460 w 49862"/>
                <a:gd name="connsiteY22" fmla="*/ 17076 h 49862"/>
                <a:gd name="connsiteX23" fmla="*/ 36966 w 49862"/>
                <a:gd name="connsiteY23" fmla="*/ 27049 h 49862"/>
                <a:gd name="connsiteX24" fmla="*/ 36966 w 49862"/>
                <a:gd name="connsiteY24" fmla="*/ 48240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9862" h="49862">
                  <a:moveTo>
                    <a:pt x="36966" y="48240"/>
                  </a:moveTo>
                  <a:cubicBezTo>
                    <a:pt x="36966" y="48240"/>
                    <a:pt x="33227" y="40761"/>
                    <a:pt x="33227" y="25802"/>
                  </a:cubicBezTo>
                  <a:cubicBezTo>
                    <a:pt x="33227" y="22062"/>
                    <a:pt x="33227" y="18323"/>
                    <a:pt x="35720" y="14583"/>
                  </a:cubicBezTo>
                  <a:cubicBezTo>
                    <a:pt x="36966" y="12090"/>
                    <a:pt x="38213" y="10843"/>
                    <a:pt x="40706" y="9597"/>
                  </a:cubicBezTo>
                  <a:cubicBezTo>
                    <a:pt x="44446" y="8351"/>
                    <a:pt x="48186" y="12090"/>
                    <a:pt x="48186" y="14583"/>
                  </a:cubicBezTo>
                  <a:cubicBezTo>
                    <a:pt x="48186" y="20816"/>
                    <a:pt x="46939" y="24556"/>
                    <a:pt x="45693" y="29542"/>
                  </a:cubicBezTo>
                  <a:lnTo>
                    <a:pt x="43199" y="37021"/>
                  </a:lnTo>
                  <a:lnTo>
                    <a:pt x="41953" y="40761"/>
                  </a:lnTo>
                  <a:cubicBezTo>
                    <a:pt x="41953" y="40761"/>
                    <a:pt x="41953" y="42008"/>
                    <a:pt x="40706" y="43254"/>
                  </a:cubicBezTo>
                  <a:cubicBezTo>
                    <a:pt x="39460" y="44501"/>
                    <a:pt x="38213" y="45748"/>
                    <a:pt x="36966" y="44501"/>
                  </a:cubicBezTo>
                  <a:cubicBezTo>
                    <a:pt x="25747" y="40761"/>
                    <a:pt x="18268" y="35775"/>
                    <a:pt x="10788" y="28295"/>
                  </a:cubicBezTo>
                  <a:cubicBezTo>
                    <a:pt x="9542" y="25802"/>
                    <a:pt x="8296" y="22062"/>
                    <a:pt x="10788" y="19570"/>
                  </a:cubicBezTo>
                  <a:cubicBezTo>
                    <a:pt x="13282" y="17076"/>
                    <a:pt x="15775" y="15830"/>
                    <a:pt x="18268" y="17076"/>
                  </a:cubicBezTo>
                  <a:cubicBezTo>
                    <a:pt x="23254" y="17076"/>
                    <a:pt x="26994" y="22062"/>
                    <a:pt x="28241" y="24556"/>
                  </a:cubicBezTo>
                  <a:cubicBezTo>
                    <a:pt x="35720" y="37021"/>
                    <a:pt x="34474" y="45748"/>
                    <a:pt x="34474" y="45748"/>
                  </a:cubicBezTo>
                  <a:cubicBezTo>
                    <a:pt x="34474" y="45748"/>
                    <a:pt x="34474" y="37021"/>
                    <a:pt x="25747" y="25802"/>
                  </a:cubicBezTo>
                  <a:cubicBezTo>
                    <a:pt x="24501" y="23309"/>
                    <a:pt x="20761" y="20816"/>
                    <a:pt x="18268" y="20816"/>
                  </a:cubicBezTo>
                  <a:cubicBezTo>
                    <a:pt x="14528" y="20816"/>
                    <a:pt x="13282" y="23309"/>
                    <a:pt x="15775" y="25802"/>
                  </a:cubicBezTo>
                  <a:cubicBezTo>
                    <a:pt x="20761" y="30789"/>
                    <a:pt x="30734" y="37021"/>
                    <a:pt x="38213" y="39515"/>
                  </a:cubicBezTo>
                  <a:cubicBezTo>
                    <a:pt x="36966" y="42008"/>
                    <a:pt x="38213" y="37021"/>
                    <a:pt x="39460" y="35775"/>
                  </a:cubicBezTo>
                  <a:lnTo>
                    <a:pt x="41953" y="28295"/>
                  </a:lnTo>
                  <a:cubicBezTo>
                    <a:pt x="43199" y="23309"/>
                    <a:pt x="44446" y="18323"/>
                    <a:pt x="44446" y="15830"/>
                  </a:cubicBezTo>
                  <a:cubicBezTo>
                    <a:pt x="44446" y="12090"/>
                    <a:pt x="41953" y="14583"/>
                    <a:pt x="39460" y="17076"/>
                  </a:cubicBezTo>
                  <a:cubicBezTo>
                    <a:pt x="38213" y="19570"/>
                    <a:pt x="36966" y="23309"/>
                    <a:pt x="36966" y="27049"/>
                  </a:cubicBezTo>
                  <a:cubicBezTo>
                    <a:pt x="35720" y="40761"/>
                    <a:pt x="36966" y="48240"/>
                    <a:pt x="36966" y="4824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4" name="任意多边形: 形状 9933">
              <a:extLst>
                <a:ext uri="{FF2B5EF4-FFF2-40B4-BE49-F238E27FC236}">
                  <a16:creationId xmlns:a16="http://schemas.microsoft.com/office/drawing/2014/main" id="{C1991707-F70C-4B2F-B3B2-1B4BFB4C3F1F}"/>
                </a:ext>
              </a:extLst>
            </p:cNvPr>
            <p:cNvSpPr/>
            <p:nvPr/>
          </p:nvSpPr>
          <p:spPr>
            <a:xfrm>
              <a:off x="6660480" y="5219386"/>
              <a:ext cx="49863" cy="49863"/>
            </a:xfrm>
            <a:custGeom>
              <a:avLst/>
              <a:gdLst>
                <a:gd name="connsiteX0" fmla="*/ 40805 w 49862"/>
                <a:gd name="connsiteY0" fmla="*/ 10596 h 49862"/>
                <a:gd name="connsiteX1" fmla="*/ 42052 w 49862"/>
                <a:gd name="connsiteY1" fmla="*/ 9349 h 49862"/>
                <a:gd name="connsiteX2" fmla="*/ 43298 w 49862"/>
                <a:gd name="connsiteY2" fmla="*/ 10596 h 49862"/>
                <a:gd name="connsiteX3" fmla="*/ 25846 w 49862"/>
                <a:gd name="connsiteY3" fmla="*/ 24308 h 49862"/>
                <a:gd name="connsiteX4" fmla="*/ 9641 w 49862"/>
                <a:gd name="connsiteY4" fmla="*/ 41760 h 49862"/>
                <a:gd name="connsiteX5" fmla="*/ 22107 w 49862"/>
                <a:gd name="connsiteY5" fmla="*/ 20569 h 49862"/>
                <a:gd name="connsiteX6" fmla="*/ 43298 w 49862"/>
                <a:gd name="connsiteY6" fmla="*/ 9349 h 49862"/>
                <a:gd name="connsiteX7" fmla="*/ 44545 w 49862"/>
                <a:gd name="connsiteY7" fmla="*/ 10596 h 49862"/>
                <a:gd name="connsiteX8" fmla="*/ 40805 w 49862"/>
                <a:gd name="connsiteY8" fmla="*/ 1059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49862">
                  <a:moveTo>
                    <a:pt x="40805" y="10596"/>
                  </a:moveTo>
                  <a:cubicBezTo>
                    <a:pt x="40805" y="10596"/>
                    <a:pt x="40805" y="9349"/>
                    <a:pt x="42052" y="9349"/>
                  </a:cubicBezTo>
                  <a:lnTo>
                    <a:pt x="43298" y="10596"/>
                  </a:lnTo>
                  <a:cubicBezTo>
                    <a:pt x="40805" y="13089"/>
                    <a:pt x="33326" y="16829"/>
                    <a:pt x="25846" y="24308"/>
                  </a:cubicBezTo>
                  <a:cubicBezTo>
                    <a:pt x="15874" y="33034"/>
                    <a:pt x="10888" y="43007"/>
                    <a:pt x="9641" y="41760"/>
                  </a:cubicBezTo>
                  <a:cubicBezTo>
                    <a:pt x="8395" y="41760"/>
                    <a:pt x="10888" y="29294"/>
                    <a:pt x="22107" y="20569"/>
                  </a:cubicBezTo>
                  <a:cubicBezTo>
                    <a:pt x="30833" y="13089"/>
                    <a:pt x="39559" y="9349"/>
                    <a:pt x="43298" y="9349"/>
                  </a:cubicBezTo>
                  <a:lnTo>
                    <a:pt x="44545" y="10596"/>
                  </a:lnTo>
                  <a:cubicBezTo>
                    <a:pt x="40805" y="10596"/>
                    <a:pt x="40805" y="10596"/>
                    <a:pt x="40805" y="1059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5" name="任意多边形: 形状 9934">
              <a:extLst>
                <a:ext uri="{FF2B5EF4-FFF2-40B4-BE49-F238E27FC236}">
                  <a16:creationId xmlns:a16="http://schemas.microsoft.com/office/drawing/2014/main" id="{2C1342BF-152E-4468-B03E-DDA98E423EAB}"/>
                </a:ext>
              </a:extLst>
            </p:cNvPr>
            <p:cNvSpPr/>
            <p:nvPr/>
          </p:nvSpPr>
          <p:spPr>
            <a:xfrm>
              <a:off x="6677928" y="5222691"/>
              <a:ext cx="37397" cy="37397"/>
            </a:xfrm>
            <a:custGeom>
              <a:avLst/>
              <a:gdLst>
                <a:gd name="connsiteX0" fmla="*/ 39563 w 37397"/>
                <a:gd name="connsiteY0" fmla="*/ 9784 h 37397"/>
                <a:gd name="connsiteX1" fmla="*/ 23357 w 37397"/>
                <a:gd name="connsiteY1" fmla="*/ 21003 h 37397"/>
                <a:gd name="connsiteX2" fmla="*/ 9645 w 37397"/>
                <a:gd name="connsiteY2" fmla="*/ 34715 h 37397"/>
                <a:gd name="connsiteX3" fmla="*/ 20865 w 37397"/>
                <a:gd name="connsiteY3" fmla="*/ 16017 h 37397"/>
                <a:gd name="connsiteX4" fmla="*/ 39563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9563" y="9784"/>
                  </a:moveTo>
                  <a:cubicBezTo>
                    <a:pt x="39563" y="11030"/>
                    <a:pt x="30837" y="14770"/>
                    <a:pt x="23357" y="21003"/>
                  </a:cubicBezTo>
                  <a:cubicBezTo>
                    <a:pt x="14632" y="28482"/>
                    <a:pt x="10892" y="35962"/>
                    <a:pt x="9645" y="34715"/>
                  </a:cubicBezTo>
                  <a:cubicBezTo>
                    <a:pt x="8399" y="34715"/>
                    <a:pt x="10892" y="24742"/>
                    <a:pt x="20865" y="16017"/>
                  </a:cubicBezTo>
                  <a:cubicBezTo>
                    <a:pt x="28344" y="9784"/>
                    <a:pt x="39563" y="8537"/>
                    <a:pt x="39563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6" name="任意多边形: 形状 9935">
              <a:extLst>
                <a:ext uri="{FF2B5EF4-FFF2-40B4-BE49-F238E27FC236}">
                  <a16:creationId xmlns:a16="http://schemas.microsoft.com/office/drawing/2014/main" id="{46DFC4D8-9891-4465-8D13-B7BE57A46708}"/>
                </a:ext>
              </a:extLst>
            </p:cNvPr>
            <p:cNvSpPr/>
            <p:nvPr/>
          </p:nvSpPr>
          <p:spPr>
            <a:xfrm>
              <a:off x="6695439" y="5226431"/>
              <a:ext cx="37397" cy="37397"/>
            </a:xfrm>
            <a:custGeom>
              <a:avLst/>
              <a:gdLst>
                <a:gd name="connsiteX0" fmla="*/ 37010 w 37397"/>
                <a:gd name="connsiteY0" fmla="*/ 9784 h 37397"/>
                <a:gd name="connsiteX1" fmla="*/ 23298 w 37397"/>
                <a:gd name="connsiteY1" fmla="*/ 19756 h 37397"/>
                <a:gd name="connsiteX2" fmla="*/ 9586 w 37397"/>
                <a:gd name="connsiteY2" fmla="*/ 30975 h 37397"/>
                <a:gd name="connsiteX3" fmla="*/ 19558 w 37397"/>
                <a:gd name="connsiteY3" fmla="*/ 16017 h 37397"/>
                <a:gd name="connsiteX4" fmla="*/ 37010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7010" y="9784"/>
                  </a:moveTo>
                  <a:cubicBezTo>
                    <a:pt x="37010" y="11030"/>
                    <a:pt x="30777" y="14770"/>
                    <a:pt x="23298" y="19756"/>
                  </a:cubicBezTo>
                  <a:cubicBezTo>
                    <a:pt x="15818" y="24743"/>
                    <a:pt x="10832" y="30975"/>
                    <a:pt x="9586" y="30975"/>
                  </a:cubicBezTo>
                  <a:cubicBezTo>
                    <a:pt x="8339" y="30975"/>
                    <a:pt x="12078" y="22249"/>
                    <a:pt x="19558" y="16017"/>
                  </a:cubicBezTo>
                  <a:cubicBezTo>
                    <a:pt x="28284" y="9784"/>
                    <a:pt x="37010" y="8537"/>
                    <a:pt x="37010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7" name="任意多边形: 形状 9936">
              <a:extLst>
                <a:ext uri="{FF2B5EF4-FFF2-40B4-BE49-F238E27FC236}">
                  <a16:creationId xmlns:a16="http://schemas.microsoft.com/office/drawing/2014/main" id="{457917DD-4D81-4441-BF78-6CA0CDBECD3C}"/>
                </a:ext>
              </a:extLst>
            </p:cNvPr>
            <p:cNvSpPr/>
            <p:nvPr/>
          </p:nvSpPr>
          <p:spPr>
            <a:xfrm>
              <a:off x="6627426" y="5205477"/>
              <a:ext cx="49863" cy="49863"/>
            </a:xfrm>
            <a:custGeom>
              <a:avLst/>
              <a:gdLst>
                <a:gd name="connsiteX0" fmla="*/ 36462 w 49862"/>
                <a:gd name="connsiteY0" fmla="*/ 43203 h 49862"/>
                <a:gd name="connsiteX1" fmla="*/ 32722 w 49862"/>
                <a:gd name="connsiteY1" fmla="*/ 39464 h 49862"/>
                <a:gd name="connsiteX2" fmla="*/ 31476 w 49862"/>
                <a:gd name="connsiteY2" fmla="*/ 24505 h 49862"/>
                <a:gd name="connsiteX3" fmla="*/ 32722 w 49862"/>
                <a:gd name="connsiteY3" fmla="*/ 14532 h 49862"/>
                <a:gd name="connsiteX4" fmla="*/ 37709 w 49862"/>
                <a:gd name="connsiteY4" fmla="*/ 9546 h 49862"/>
                <a:gd name="connsiteX5" fmla="*/ 43941 w 49862"/>
                <a:gd name="connsiteY5" fmla="*/ 15779 h 49862"/>
                <a:gd name="connsiteX6" fmla="*/ 43941 w 49862"/>
                <a:gd name="connsiteY6" fmla="*/ 29491 h 49862"/>
                <a:gd name="connsiteX7" fmla="*/ 42695 w 49862"/>
                <a:gd name="connsiteY7" fmla="*/ 36970 h 49862"/>
                <a:gd name="connsiteX8" fmla="*/ 41448 w 49862"/>
                <a:gd name="connsiteY8" fmla="*/ 40710 h 49862"/>
                <a:gd name="connsiteX9" fmla="*/ 36462 w 49862"/>
                <a:gd name="connsiteY9" fmla="*/ 43203 h 49862"/>
                <a:gd name="connsiteX10" fmla="*/ 21503 w 49862"/>
                <a:gd name="connsiteY10" fmla="*/ 40710 h 49862"/>
                <a:gd name="connsiteX11" fmla="*/ 10284 w 49862"/>
                <a:gd name="connsiteY11" fmla="*/ 31984 h 49862"/>
                <a:gd name="connsiteX12" fmla="*/ 10284 w 49862"/>
                <a:gd name="connsiteY12" fmla="*/ 24505 h 49862"/>
                <a:gd name="connsiteX13" fmla="*/ 15270 w 49862"/>
                <a:gd name="connsiteY13" fmla="*/ 23258 h 49862"/>
                <a:gd name="connsiteX14" fmla="*/ 17763 w 49862"/>
                <a:gd name="connsiteY14" fmla="*/ 24505 h 49862"/>
                <a:gd name="connsiteX15" fmla="*/ 26489 w 49862"/>
                <a:gd name="connsiteY15" fmla="*/ 30738 h 49862"/>
                <a:gd name="connsiteX16" fmla="*/ 37709 w 49862"/>
                <a:gd name="connsiteY16" fmla="*/ 46943 h 49862"/>
                <a:gd name="connsiteX17" fmla="*/ 23996 w 49862"/>
                <a:gd name="connsiteY17" fmla="*/ 33231 h 49862"/>
                <a:gd name="connsiteX18" fmla="*/ 16517 w 49862"/>
                <a:gd name="connsiteY18" fmla="*/ 28245 h 49862"/>
                <a:gd name="connsiteX19" fmla="*/ 14024 w 49862"/>
                <a:gd name="connsiteY19" fmla="*/ 26998 h 49862"/>
                <a:gd name="connsiteX20" fmla="*/ 14024 w 49862"/>
                <a:gd name="connsiteY20" fmla="*/ 25751 h 49862"/>
                <a:gd name="connsiteX21" fmla="*/ 15270 w 49862"/>
                <a:gd name="connsiteY21" fmla="*/ 25751 h 49862"/>
                <a:gd name="connsiteX22" fmla="*/ 16517 w 49862"/>
                <a:gd name="connsiteY22" fmla="*/ 29491 h 49862"/>
                <a:gd name="connsiteX23" fmla="*/ 36462 w 49862"/>
                <a:gd name="connsiteY23" fmla="*/ 39464 h 49862"/>
                <a:gd name="connsiteX24" fmla="*/ 40202 w 49862"/>
                <a:gd name="connsiteY24" fmla="*/ 30738 h 49862"/>
                <a:gd name="connsiteX25" fmla="*/ 40202 w 49862"/>
                <a:gd name="connsiteY25" fmla="*/ 18272 h 49862"/>
                <a:gd name="connsiteX26" fmla="*/ 38955 w 49862"/>
                <a:gd name="connsiteY26" fmla="*/ 15779 h 49862"/>
                <a:gd name="connsiteX27" fmla="*/ 37709 w 49862"/>
                <a:gd name="connsiteY27" fmla="*/ 18272 h 49862"/>
                <a:gd name="connsiteX28" fmla="*/ 36462 w 49862"/>
                <a:gd name="connsiteY28" fmla="*/ 28245 h 49862"/>
                <a:gd name="connsiteX29" fmla="*/ 35216 w 49862"/>
                <a:gd name="connsiteY29" fmla="*/ 41957 h 49862"/>
                <a:gd name="connsiteX30" fmla="*/ 36462 w 49862"/>
                <a:gd name="connsiteY30" fmla="*/ 4320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9862" h="49862">
                  <a:moveTo>
                    <a:pt x="36462" y="43203"/>
                  </a:moveTo>
                  <a:cubicBezTo>
                    <a:pt x="36462" y="43203"/>
                    <a:pt x="33969" y="41957"/>
                    <a:pt x="32722" y="39464"/>
                  </a:cubicBezTo>
                  <a:cubicBezTo>
                    <a:pt x="31476" y="35724"/>
                    <a:pt x="31476" y="30738"/>
                    <a:pt x="31476" y="24505"/>
                  </a:cubicBezTo>
                  <a:cubicBezTo>
                    <a:pt x="31476" y="20765"/>
                    <a:pt x="31476" y="18272"/>
                    <a:pt x="32722" y="14532"/>
                  </a:cubicBezTo>
                  <a:cubicBezTo>
                    <a:pt x="33969" y="13286"/>
                    <a:pt x="33969" y="9546"/>
                    <a:pt x="37709" y="9546"/>
                  </a:cubicBezTo>
                  <a:cubicBezTo>
                    <a:pt x="41448" y="8299"/>
                    <a:pt x="43941" y="13286"/>
                    <a:pt x="43941" y="15779"/>
                  </a:cubicBezTo>
                  <a:cubicBezTo>
                    <a:pt x="45188" y="19518"/>
                    <a:pt x="45188" y="24505"/>
                    <a:pt x="43941" y="29491"/>
                  </a:cubicBezTo>
                  <a:cubicBezTo>
                    <a:pt x="43941" y="31984"/>
                    <a:pt x="42695" y="34477"/>
                    <a:pt x="42695" y="36970"/>
                  </a:cubicBezTo>
                  <a:cubicBezTo>
                    <a:pt x="42695" y="38217"/>
                    <a:pt x="41448" y="39464"/>
                    <a:pt x="41448" y="40710"/>
                  </a:cubicBezTo>
                  <a:cubicBezTo>
                    <a:pt x="40202" y="41957"/>
                    <a:pt x="38955" y="43203"/>
                    <a:pt x="36462" y="43203"/>
                  </a:cubicBezTo>
                  <a:cubicBezTo>
                    <a:pt x="30229" y="43203"/>
                    <a:pt x="26489" y="41957"/>
                    <a:pt x="21503" y="40710"/>
                  </a:cubicBezTo>
                  <a:cubicBezTo>
                    <a:pt x="16517" y="39464"/>
                    <a:pt x="12777" y="35724"/>
                    <a:pt x="10284" y="31984"/>
                  </a:cubicBezTo>
                  <a:cubicBezTo>
                    <a:pt x="9038" y="29491"/>
                    <a:pt x="9038" y="28245"/>
                    <a:pt x="10284" y="24505"/>
                  </a:cubicBezTo>
                  <a:cubicBezTo>
                    <a:pt x="10284" y="22012"/>
                    <a:pt x="15270" y="22012"/>
                    <a:pt x="15270" y="23258"/>
                  </a:cubicBezTo>
                  <a:lnTo>
                    <a:pt x="17763" y="24505"/>
                  </a:lnTo>
                  <a:cubicBezTo>
                    <a:pt x="21503" y="26998"/>
                    <a:pt x="23996" y="28245"/>
                    <a:pt x="26489" y="30738"/>
                  </a:cubicBezTo>
                  <a:cubicBezTo>
                    <a:pt x="35216" y="39464"/>
                    <a:pt x="38955" y="46943"/>
                    <a:pt x="37709" y="46943"/>
                  </a:cubicBezTo>
                  <a:cubicBezTo>
                    <a:pt x="36462" y="46943"/>
                    <a:pt x="32722" y="40710"/>
                    <a:pt x="23996" y="33231"/>
                  </a:cubicBezTo>
                  <a:cubicBezTo>
                    <a:pt x="21503" y="31984"/>
                    <a:pt x="19010" y="29491"/>
                    <a:pt x="16517" y="28245"/>
                  </a:cubicBezTo>
                  <a:lnTo>
                    <a:pt x="14024" y="26998"/>
                  </a:lnTo>
                  <a:cubicBezTo>
                    <a:pt x="14024" y="26998"/>
                    <a:pt x="14024" y="26998"/>
                    <a:pt x="14024" y="25751"/>
                  </a:cubicBezTo>
                  <a:cubicBezTo>
                    <a:pt x="14024" y="25751"/>
                    <a:pt x="14024" y="25751"/>
                    <a:pt x="15270" y="25751"/>
                  </a:cubicBezTo>
                  <a:cubicBezTo>
                    <a:pt x="15270" y="25751"/>
                    <a:pt x="15270" y="28245"/>
                    <a:pt x="16517" y="29491"/>
                  </a:cubicBezTo>
                  <a:cubicBezTo>
                    <a:pt x="19010" y="35724"/>
                    <a:pt x="30229" y="38217"/>
                    <a:pt x="36462" y="39464"/>
                  </a:cubicBezTo>
                  <a:cubicBezTo>
                    <a:pt x="37709" y="40710"/>
                    <a:pt x="38955" y="33231"/>
                    <a:pt x="40202" y="30738"/>
                  </a:cubicBezTo>
                  <a:cubicBezTo>
                    <a:pt x="40202" y="26998"/>
                    <a:pt x="40202" y="22012"/>
                    <a:pt x="40202" y="18272"/>
                  </a:cubicBezTo>
                  <a:cubicBezTo>
                    <a:pt x="40202" y="15779"/>
                    <a:pt x="38955" y="15779"/>
                    <a:pt x="38955" y="15779"/>
                  </a:cubicBezTo>
                  <a:cubicBezTo>
                    <a:pt x="37709" y="15779"/>
                    <a:pt x="37709" y="17025"/>
                    <a:pt x="37709" y="18272"/>
                  </a:cubicBezTo>
                  <a:cubicBezTo>
                    <a:pt x="36462" y="20765"/>
                    <a:pt x="36462" y="24505"/>
                    <a:pt x="36462" y="28245"/>
                  </a:cubicBezTo>
                  <a:cubicBezTo>
                    <a:pt x="35216" y="34477"/>
                    <a:pt x="35216" y="39464"/>
                    <a:pt x="35216" y="41957"/>
                  </a:cubicBezTo>
                  <a:cubicBezTo>
                    <a:pt x="35216" y="41957"/>
                    <a:pt x="36462" y="43203"/>
                    <a:pt x="36462" y="4320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8" name="任意多边形: 形状 9937">
              <a:extLst>
                <a:ext uri="{FF2B5EF4-FFF2-40B4-BE49-F238E27FC236}">
                  <a16:creationId xmlns:a16="http://schemas.microsoft.com/office/drawing/2014/main" id="{9CE08DD3-7544-43B4-898F-BFB8BA68551E}"/>
                </a:ext>
              </a:extLst>
            </p:cNvPr>
            <p:cNvSpPr/>
            <p:nvPr/>
          </p:nvSpPr>
          <p:spPr>
            <a:xfrm>
              <a:off x="6268103" y="5157980"/>
              <a:ext cx="112191" cy="24931"/>
            </a:xfrm>
            <a:custGeom>
              <a:avLst/>
              <a:gdLst>
                <a:gd name="connsiteX0" fmla="*/ 110321 w 112191"/>
                <a:gd name="connsiteY0" fmla="*/ 9674 h 24931"/>
                <a:gd name="connsiteX1" fmla="*/ 60459 w 112191"/>
                <a:gd name="connsiteY1" fmla="*/ 19646 h 24931"/>
                <a:gd name="connsiteX2" fmla="*/ 9349 w 112191"/>
                <a:gd name="connsiteY2" fmla="*/ 24633 h 24931"/>
                <a:gd name="connsiteX3" fmla="*/ 59212 w 112191"/>
                <a:gd name="connsiteY3" fmla="*/ 14660 h 24931"/>
                <a:gd name="connsiteX4" fmla="*/ 110321 w 112191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0321" y="9674"/>
                  </a:moveTo>
                  <a:cubicBezTo>
                    <a:pt x="110321" y="10920"/>
                    <a:pt x="87883" y="15906"/>
                    <a:pt x="60459" y="19646"/>
                  </a:cubicBezTo>
                  <a:cubicBezTo>
                    <a:pt x="33034" y="24633"/>
                    <a:pt x="10596" y="25879"/>
                    <a:pt x="9349" y="24633"/>
                  </a:cubicBezTo>
                  <a:cubicBezTo>
                    <a:pt x="9349" y="23386"/>
                    <a:pt x="31788" y="18400"/>
                    <a:pt x="59212" y="14660"/>
                  </a:cubicBezTo>
                  <a:cubicBezTo>
                    <a:pt x="87883" y="10920"/>
                    <a:pt x="110321" y="8427"/>
                    <a:pt x="110321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9" name="任意多边形: 形状 9938">
              <a:extLst>
                <a:ext uri="{FF2B5EF4-FFF2-40B4-BE49-F238E27FC236}">
                  <a16:creationId xmlns:a16="http://schemas.microsoft.com/office/drawing/2014/main" id="{47A0B2A2-96B7-4A04-84DB-7D65B4E567A3}"/>
                </a:ext>
              </a:extLst>
            </p:cNvPr>
            <p:cNvSpPr/>
            <p:nvPr/>
          </p:nvSpPr>
          <p:spPr>
            <a:xfrm>
              <a:off x="6562293" y="5147815"/>
              <a:ext cx="112191" cy="24931"/>
            </a:xfrm>
            <a:custGeom>
              <a:avLst/>
              <a:gdLst>
                <a:gd name="connsiteX0" fmla="*/ 114061 w 112191"/>
                <a:gd name="connsiteY0" fmla="*/ 9866 h 24931"/>
                <a:gd name="connsiteX1" fmla="*/ 61705 w 112191"/>
                <a:gd name="connsiteY1" fmla="*/ 16098 h 24931"/>
                <a:gd name="connsiteX2" fmla="*/ 9349 w 112191"/>
                <a:gd name="connsiteY2" fmla="*/ 17345 h 24931"/>
                <a:gd name="connsiteX3" fmla="*/ 61705 w 112191"/>
                <a:gd name="connsiteY3" fmla="*/ 11112 h 24931"/>
                <a:gd name="connsiteX4" fmla="*/ 114061 w 112191"/>
                <a:gd name="connsiteY4" fmla="*/ 986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4061" y="9866"/>
                  </a:moveTo>
                  <a:cubicBezTo>
                    <a:pt x="114061" y="11112"/>
                    <a:pt x="90376" y="13605"/>
                    <a:pt x="61705" y="16098"/>
                  </a:cubicBezTo>
                  <a:cubicBezTo>
                    <a:pt x="33034" y="18591"/>
                    <a:pt x="9349" y="18591"/>
                    <a:pt x="9349" y="17345"/>
                  </a:cubicBezTo>
                  <a:cubicBezTo>
                    <a:pt x="9349" y="16098"/>
                    <a:pt x="33034" y="13605"/>
                    <a:pt x="61705" y="11112"/>
                  </a:cubicBezTo>
                  <a:cubicBezTo>
                    <a:pt x="90376" y="9866"/>
                    <a:pt x="114061" y="8619"/>
                    <a:pt x="114061" y="98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0" name="任意多边形: 形状 9939">
              <a:extLst>
                <a:ext uri="{FF2B5EF4-FFF2-40B4-BE49-F238E27FC236}">
                  <a16:creationId xmlns:a16="http://schemas.microsoft.com/office/drawing/2014/main" id="{F90AA637-364B-4EC6-82CA-2221FEFDF781}"/>
                </a:ext>
              </a:extLst>
            </p:cNvPr>
            <p:cNvSpPr/>
            <p:nvPr/>
          </p:nvSpPr>
          <p:spPr>
            <a:xfrm>
              <a:off x="6183268" y="4167241"/>
              <a:ext cx="37397" cy="124657"/>
            </a:xfrm>
            <a:custGeom>
              <a:avLst/>
              <a:gdLst>
                <a:gd name="connsiteX0" fmla="*/ 25623 w 37397"/>
                <a:gd name="connsiteY0" fmla="*/ 9390 h 124656"/>
                <a:gd name="connsiteX1" fmla="*/ 33102 w 37397"/>
                <a:gd name="connsiteY1" fmla="*/ 69226 h 124656"/>
                <a:gd name="connsiteX2" fmla="*/ 9417 w 37397"/>
                <a:gd name="connsiteY2" fmla="*/ 125321 h 124656"/>
                <a:gd name="connsiteX3" fmla="*/ 28116 w 37397"/>
                <a:gd name="connsiteY3" fmla="*/ 67979 h 124656"/>
                <a:gd name="connsiteX4" fmla="*/ 25623 w 37397"/>
                <a:gd name="connsiteY4" fmla="*/ 939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124656">
                  <a:moveTo>
                    <a:pt x="25623" y="9390"/>
                  </a:moveTo>
                  <a:cubicBezTo>
                    <a:pt x="26869" y="8144"/>
                    <a:pt x="38088" y="35568"/>
                    <a:pt x="33102" y="69226"/>
                  </a:cubicBezTo>
                  <a:cubicBezTo>
                    <a:pt x="28116" y="104129"/>
                    <a:pt x="9417" y="126567"/>
                    <a:pt x="9417" y="125321"/>
                  </a:cubicBezTo>
                  <a:cubicBezTo>
                    <a:pt x="8171" y="124075"/>
                    <a:pt x="24376" y="101636"/>
                    <a:pt x="28116" y="67979"/>
                  </a:cubicBezTo>
                  <a:cubicBezTo>
                    <a:pt x="33102" y="36815"/>
                    <a:pt x="24376" y="10637"/>
                    <a:pt x="25623" y="93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1" name="任意多边形: 形状 9940">
              <a:extLst>
                <a:ext uri="{FF2B5EF4-FFF2-40B4-BE49-F238E27FC236}">
                  <a16:creationId xmlns:a16="http://schemas.microsoft.com/office/drawing/2014/main" id="{FACEF989-F264-4A4E-AE13-847532825E1B}"/>
                </a:ext>
              </a:extLst>
            </p:cNvPr>
            <p:cNvSpPr/>
            <p:nvPr/>
          </p:nvSpPr>
          <p:spPr>
            <a:xfrm>
              <a:off x="6463502" y="4045083"/>
              <a:ext cx="112191" cy="112191"/>
            </a:xfrm>
            <a:custGeom>
              <a:avLst/>
              <a:gdLst>
                <a:gd name="connsiteX0" fmla="*/ 113126 w 112191"/>
                <a:gd name="connsiteY0" fmla="*/ 106618 h 112191"/>
                <a:gd name="connsiteX1" fmla="*/ 91935 w 112191"/>
                <a:gd name="connsiteY1" fmla="*/ 100385 h 112191"/>
                <a:gd name="connsiteX2" fmla="*/ 48305 w 112191"/>
                <a:gd name="connsiteY2" fmla="*/ 71714 h 112191"/>
                <a:gd name="connsiteX3" fmla="*/ 17140 w 112191"/>
                <a:gd name="connsiteY3" fmla="*/ 29331 h 112191"/>
                <a:gd name="connsiteX4" fmla="*/ 9661 w 112191"/>
                <a:gd name="connsiteY4" fmla="*/ 9385 h 112191"/>
                <a:gd name="connsiteX5" fmla="*/ 52044 w 112191"/>
                <a:gd name="connsiteY5" fmla="*/ 67974 h 112191"/>
                <a:gd name="connsiteX6" fmla="*/ 113126 w 112191"/>
                <a:gd name="connsiteY6" fmla="*/ 10661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191" h="112191">
                  <a:moveTo>
                    <a:pt x="113126" y="106618"/>
                  </a:moveTo>
                  <a:cubicBezTo>
                    <a:pt x="113126" y="106618"/>
                    <a:pt x="104400" y="105371"/>
                    <a:pt x="91935" y="100385"/>
                  </a:cubicBezTo>
                  <a:cubicBezTo>
                    <a:pt x="79469" y="95399"/>
                    <a:pt x="63263" y="85426"/>
                    <a:pt x="48305" y="71714"/>
                  </a:cubicBezTo>
                  <a:cubicBezTo>
                    <a:pt x="33346" y="56755"/>
                    <a:pt x="23373" y="41796"/>
                    <a:pt x="17140" y="29331"/>
                  </a:cubicBezTo>
                  <a:cubicBezTo>
                    <a:pt x="10908" y="16865"/>
                    <a:pt x="8414" y="9385"/>
                    <a:pt x="9661" y="9385"/>
                  </a:cubicBezTo>
                  <a:cubicBezTo>
                    <a:pt x="10908" y="8139"/>
                    <a:pt x="23373" y="39303"/>
                    <a:pt x="52044" y="67974"/>
                  </a:cubicBezTo>
                  <a:cubicBezTo>
                    <a:pt x="81962" y="96645"/>
                    <a:pt x="114373" y="105371"/>
                    <a:pt x="113126" y="10661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2" name="任意多边形: 形状 9941">
              <a:extLst>
                <a:ext uri="{FF2B5EF4-FFF2-40B4-BE49-F238E27FC236}">
                  <a16:creationId xmlns:a16="http://schemas.microsoft.com/office/drawing/2014/main" id="{3B3CE4EF-982F-4D51-BFE0-3D48CAD27AA0}"/>
                </a:ext>
              </a:extLst>
            </p:cNvPr>
            <p:cNvSpPr/>
            <p:nvPr/>
          </p:nvSpPr>
          <p:spPr>
            <a:xfrm>
              <a:off x="6345135" y="4099968"/>
              <a:ext cx="112191" cy="199451"/>
            </a:xfrm>
            <a:custGeom>
              <a:avLst/>
              <a:gdLst>
                <a:gd name="connsiteX0" fmla="*/ 104343 w 112191"/>
                <a:gd name="connsiteY0" fmla="*/ 175143 h 199450"/>
                <a:gd name="connsiteX1" fmla="*/ 79412 w 112191"/>
                <a:gd name="connsiteY1" fmla="*/ 190102 h 199450"/>
                <a:gd name="connsiteX2" fmla="*/ 78165 w 112191"/>
                <a:gd name="connsiteY2" fmla="*/ 191348 h 199450"/>
                <a:gd name="connsiteX3" fmla="*/ 76918 w 112191"/>
                <a:gd name="connsiteY3" fmla="*/ 190102 h 199450"/>
                <a:gd name="connsiteX4" fmla="*/ 42015 w 112191"/>
                <a:gd name="connsiteY4" fmla="*/ 115308 h 199450"/>
                <a:gd name="connsiteX5" fmla="*/ 15837 w 112191"/>
                <a:gd name="connsiteY5" fmla="*/ 41760 h 199450"/>
                <a:gd name="connsiteX6" fmla="*/ 9604 w 112191"/>
                <a:gd name="connsiteY6" fmla="*/ 18075 h 199450"/>
                <a:gd name="connsiteX7" fmla="*/ 12097 w 112191"/>
                <a:gd name="connsiteY7" fmla="*/ 9349 h 199450"/>
                <a:gd name="connsiteX8" fmla="*/ 12097 w 112191"/>
                <a:gd name="connsiteY8" fmla="*/ 18075 h 199450"/>
                <a:gd name="connsiteX9" fmla="*/ 19576 w 112191"/>
                <a:gd name="connsiteY9" fmla="*/ 40513 h 199450"/>
                <a:gd name="connsiteX10" fmla="*/ 48247 w 112191"/>
                <a:gd name="connsiteY10" fmla="*/ 114061 h 199450"/>
                <a:gd name="connsiteX11" fmla="*/ 81904 w 112191"/>
                <a:gd name="connsiteY11" fmla="*/ 188855 h 199450"/>
                <a:gd name="connsiteX12" fmla="*/ 79412 w 112191"/>
                <a:gd name="connsiteY12" fmla="*/ 187608 h 199450"/>
                <a:gd name="connsiteX13" fmla="*/ 104343 w 112191"/>
                <a:gd name="connsiteY13" fmla="*/ 175143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191" h="199450">
                  <a:moveTo>
                    <a:pt x="104343" y="175143"/>
                  </a:moveTo>
                  <a:cubicBezTo>
                    <a:pt x="104343" y="175143"/>
                    <a:pt x="95617" y="181376"/>
                    <a:pt x="79412" y="190102"/>
                  </a:cubicBezTo>
                  <a:lnTo>
                    <a:pt x="78165" y="191348"/>
                  </a:lnTo>
                  <a:lnTo>
                    <a:pt x="76918" y="190102"/>
                  </a:lnTo>
                  <a:cubicBezTo>
                    <a:pt x="66946" y="172650"/>
                    <a:pt x="54480" y="146472"/>
                    <a:pt x="42015" y="115308"/>
                  </a:cubicBezTo>
                  <a:cubicBezTo>
                    <a:pt x="30795" y="86637"/>
                    <a:pt x="20823" y="60459"/>
                    <a:pt x="15837" y="41760"/>
                  </a:cubicBezTo>
                  <a:cubicBezTo>
                    <a:pt x="13343" y="31787"/>
                    <a:pt x="10850" y="24308"/>
                    <a:pt x="9604" y="18075"/>
                  </a:cubicBezTo>
                  <a:cubicBezTo>
                    <a:pt x="8357" y="11843"/>
                    <a:pt x="12097" y="9349"/>
                    <a:pt x="12097" y="9349"/>
                  </a:cubicBezTo>
                  <a:cubicBezTo>
                    <a:pt x="12097" y="9349"/>
                    <a:pt x="10850" y="11843"/>
                    <a:pt x="12097" y="18075"/>
                  </a:cubicBezTo>
                  <a:cubicBezTo>
                    <a:pt x="13343" y="23062"/>
                    <a:pt x="17083" y="30541"/>
                    <a:pt x="19576" y="40513"/>
                  </a:cubicBezTo>
                  <a:cubicBezTo>
                    <a:pt x="25809" y="59212"/>
                    <a:pt x="35782" y="85390"/>
                    <a:pt x="48247" y="114061"/>
                  </a:cubicBezTo>
                  <a:cubicBezTo>
                    <a:pt x="60713" y="143978"/>
                    <a:pt x="73179" y="170156"/>
                    <a:pt x="81904" y="188855"/>
                  </a:cubicBezTo>
                  <a:lnTo>
                    <a:pt x="79412" y="187608"/>
                  </a:lnTo>
                  <a:cubicBezTo>
                    <a:pt x="94370" y="178883"/>
                    <a:pt x="104343" y="173896"/>
                    <a:pt x="104343" y="17514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3" name="任意多边形: 形状 9942">
              <a:extLst>
                <a:ext uri="{FF2B5EF4-FFF2-40B4-BE49-F238E27FC236}">
                  <a16:creationId xmlns:a16="http://schemas.microsoft.com/office/drawing/2014/main" id="{C69C3F3F-544A-4F47-A248-9C5C282BAEB5}"/>
                </a:ext>
              </a:extLst>
            </p:cNvPr>
            <p:cNvSpPr/>
            <p:nvPr/>
          </p:nvSpPr>
          <p:spPr>
            <a:xfrm>
              <a:off x="6423924" y="4102461"/>
              <a:ext cx="224382" cy="1059583"/>
            </a:xfrm>
            <a:custGeom>
              <a:avLst/>
              <a:gdLst>
                <a:gd name="connsiteX0" fmla="*/ 200074 w 224382"/>
                <a:gd name="connsiteY0" fmla="*/ 1058960 h 1059583"/>
                <a:gd name="connsiteX1" fmla="*/ 200074 w 224382"/>
                <a:gd name="connsiteY1" fmla="*/ 1047741 h 1059583"/>
                <a:gd name="connsiteX2" fmla="*/ 200074 w 224382"/>
                <a:gd name="connsiteY2" fmla="*/ 1015330 h 1059583"/>
                <a:gd name="connsiteX3" fmla="*/ 202567 w 224382"/>
                <a:gd name="connsiteY3" fmla="*/ 896906 h 1059583"/>
                <a:gd name="connsiteX4" fmla="*/ 211293 w 224382"/>
                <a:gd name="connsiteY4" fmla="*/ 507977 h 1059583"/>
                <a:gd name="connsiteX5" fmla="*/ 171403 w 224382"/>
                <a:gd name="connsiteY5" fmla="*/ 299800 h 1059583"/>
                <a:gd name="connsiteX6" fmla="*/ 97856 w 224382"/>
                <a:gd name="connsiteY6" fmla="*/ 142732 h 1059583"/>
                <a:gd name="connsiteX7" fmla="*/ 34281 w 224382"/>
                <a:gd name="connsiteY7" fmla="*/ 44253 h 1059583"/>
                <a:gd name="connsiteX8" fmla="*/ 15582 w 224382"/>
                <a:gd name="connsiteY8" fmla="*/ 18075 h 1059583"/>
                <a:gd name="connsiteX9" fmla="*/ 9349 w 224382"/>
                <a:gd name="connsiteY9" fmla="*/ 9349 h 1059583"/>
                <a:gd name="connsiteX10" fmla="*/ 16829 w 224382"/>
                <a:gd name="connsiteY10" fmla="*/ 18075 h 1059583"/>
                <a:gd name="connsiteX11" fmla="*/ 36774 w 224382"/>
                <a:gd name="connsiteY11" fmla="*/ 43006 h 1059583"/>
                <a:gd name="connsiteX12" fmla="*/ 101596 w 224382"/>
                <a:gd name="connsiteY12" fmla="*/ 141485 h 1059583"/>
                <a:gd name="connsiteX13" fmla="*/ 176390 w 224382"/>
                <a:gd name="connsiteY13" fmla="*/ 299800 h 1059583"/>
                <a:gd name="connsiteX14" fmla="*/ 217526 w 224382"/>
                <a:gd name="connsiteY14" fmla="*/ 509223 h 1059583"/>
                <a:gd name="connsiteX15" fmla="*/ 207554 w 224382"/>
                <a:gd name="connsiteY15" fmla="*/ 898152 h 1059583"/>
                <a:gd name="connsiteX16" fmla="*/ 203814 w 224382"/>
                <a:gd name="connsiteY16" fmla="*/ 1015330 h 1059583"/>
                <a:gd name="connsiteX17" fmla="*/ 202567 w 224382"/>
                <a:gd name="connsiteY17" fmla="*/ 1047741 h 1059583"/>
                <a:gd name="connsiteX18" fmla="*/ 200074 w 224382"/>
                <a:gd name="connsiteY18" fmla="*/ 1058960 h 1059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4382" h="1059583">
                  <a:moveTo>
                    <a:pt x="200074" y="1058960"/>
                  </a:moveTo>
                  <a:cubicBezTo>
                    <a:pt x="200074" y="1058960"/>
                    <a:pt x="200074" y="1055220"/>
                    <a:pt x="200074" y="1047741"/>
                  </a:cubicBezTo>
                  <a:cubicBezTo>
                    <a:pt x="200074" y="1039014"/>
                    <a:pt x="200074" y="1027795"/>
                    <a:pt x="200074" y="1015330"/>
                  </a:cubicBezTo>
                  <a:cubicBezTo>
                    <a:pt x="200074" y="985412"/>
                    <a:pt x="201321" y="945522"/>
                    <a:pt x="202567" y="896906"/>
                  </a:cubicBezTo>
                  <a:cubicBezTo>
                    <a:pt x="205061" y="795934"/>
                    <a:pt x="207554" y="658811"/>
                    <a:pt x="211293" y="507977"/>
                  </a:cubicBezTo>
                  <a:cubicBezTo>
                    <a:pt x="210047" y="431936"/>
                    <a:pt x="192595" y="360881"/>
                    <a:pt x="171403" y="299800"/>
                  </a:cubicBezTo>
                  <a:cubicBezTo>
                    <a:pt x="148965" y="237471"/>
                    <a:pt x="121540" y="185115"/>
                    <a:pt x="97856" y="142732"/>
                  </a:cubicBezTo>
                  <a:cubicBezTo>
                    <a:pt x="72924" y="99102"/>
                    <a:pt x="50486" y="66691"/>
                    <a:pt x="34281" y="44253"/>
                  </a:cubicBezTo>
                  <a:cubicBezTo>
                    <a:pt x="26802" y="34281"/>
                    <a:pt x="20569" y="25554"/>
                    <a:pt x="15582" y="18075"/>
                  </a:cubicBezTo>
                  <a:cubicBezTo>
                    <a:pt x="10596" y="11842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6829" y="18075"/>
                  </a:cubicBezTo>
                  <a:cubicBezTo>
                    <a:pt x="21815" y="24308"/>
                    <a:pt x="28048" y="31787"/>
                    <a:pt x="36774" y="43006"/>
                  </a:cubicBezTo>
                  <a:cubicBezTo>
                    <a:pt x="52979" y="65445"/>
                    <a:pt x="76664" y="97855"/>
                    <a:pt x="101596" y="141485"/>
                  </a:cubicBezTo>
                  <a:cubicBezTo>
                    <a:pt x="126527" y="183869"/>
                    <a:pt x="153951" y="237471"/>
                    <a:pt x="176390" y="299800"/>
                  </a:cubicBezTo>
                  <a:cubicBezTo>
                    <a:pt x="198828" y="362128"/>
                    <a:pt x="216280" y="433182"/>
                    <a:pt x="217526" y="509223"/>
                  </a:cubicBezTo>
                  <a:cubicBezTo>
                    <a:pt x="213787" y="660058"/>
                    <a:pt x="210047" y="795934"/>
                    <a:pt x="207554" y="898152"/>
                  </a:cubicBezTo>
                  <a:cubicBezTo>
                    <a:pt x="206307" y="946768"/>
                    <a:pt x="205061" y="986659"/>
                    <a:pt x="203814" y="1015330"/>
                  </a:cubicBezTo>
                  <a:cubicBezTo>
                    <a:pt x="203814" y="1027795"/>
                    <a:pt x="202567" y="1039014"/>
                    <a:pt x="202567" y="1047741"/>
                  </a:cubicBezTo>
                  <a:cubicBezTo>
                    <a:pt x="201321" y="1055220"/>
                    <a:pt x="200074" y="1058960"/>
                    <a:pt x="200074" y="105896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4" name="任意多边形: 形状 9943">
              <a:extLst>
                <a:ext uri="{FF2B5EF4-FFF2-40B4-BE49-F238E27FC236}">
                  <a16:creationId xmlns:a16="http://schemas.microsoft.com/office/drawing/2014/main" id="{8BAB58F9-2770-4FFF-9405-AD500A42BAE9}"/>
                </a:ext>
              </a:extLst>
            </p:cNvPr>
            <p:cNvSpPr/>
            <p:nvPr/>
          </p:nvSpPr>
          <p:spPr>
            <a:xfrm>
              <a:off x="6261870" y="4163543"/>
              <a:ext cx="174520" cy="1022186"/>
            </a:xfrm>
            <a:custGeom>
              <a:avLst/>
              <a:gdLst>
                <a:gd name="connsiteX0" fmla="*/ 66691 w 174519"/>
                <a:gd name="connsiteY0" fmla="*/ 1016576 h 1022185"/>
                <a:gd name="connsiteX1" fmla="*/ 67938 w 174519"/>
                <a:gd name="connsiteY1" fmla="*/ 1006604 h 1022185"/>
                <a:gd name="connsiteX2" fmla="*/ 74171 w 174519"/>
                <a:gd name="connsiteY2" fmla="*/ 976686 h 1022185"/>
                <a:gd name="connsiteX3" fmla="*/ 97856 w 174519"/>
                <a:gd name="connsiteY3" fmla="*/ 866988 h 1022185"/>
                <a:gd name="connsiteX4" fmla="*/ 131513 w 174519"/>
                <a:gd name="connsiteY4" fmla="*/ 703688 h 1022185"/>
                <a:gd name="connsiteX5" fmla="*/ 150212 w 174519"/>
                <a:gd name="connsiteY5" fmla="*/ 607702 h 1022185"/>
                <a:gd name="connsiteX6" fmla="*/ 165170 w 174519"/>
                <a:gd name="connsiteY6" fmla="*/ 504237 h 1022185"/>
                <a:gd name="connsiteX7" fmla="*/ 132760 w 174519"/>
                <a:gd name="connsiteY7" fmla="*/ 304786 h 1022185"/>
                <a:gd name="connsiteX8" fmla="*/ 75418 w 174519"/>
                <a:gd name="connsiteY8" fmla="*/ 148965 h 1022185"/>
                <a:gd name="connsiteX9" fmla="*/ 28048 w 174519"/>
                <a:gd name="connsiteY9" fmla="*/ 46746 h 1022185"/>
                <a:gd name="connsiteX10" fmla="*/ 14336 w 174519"/>
                <a:gd name="connsiteY10" fmla="*/ 19322 h 1022185"/>
                <a:gd name="connsiteX11" fmla="*/ 9349 w 174519"/>
                <a:gd name="connsiteY11" fmla="*/ 9349 h 1022185"/>
                <a:gd name="connsiteX12" fmla="*/ 14336 w 174519"/>
                <a:gd name="connsiteY12" fmla="*/ 18075 h 1022185"/>
                <a:gd name="connsiteX13" fmla="*/ 29294 w 174519"/>
                <a:gd name="connsiteY13" fmla="*/ 45500 h 1022185"/>
                <a:gd name="connsiteX14" fmla="*/ 77911 w 174519"/>
                <a:gd name="connsiteY14" fmla="*/ 146472 h 1022185"/>
                <a:gd name="connsiteX15" fmla="*/ 136499 w 174519"/>
                <a:gd name="connsiteY15" fmla="*/ 302293 h 1022185"/>
                <a:gd name="connsiteX16" fmla="*/ 168910 w 174519"/>
                <a:gd name="connsiteY16" fmla="*/ 502990 h 1022185"/>
                <a:gd name="connsiteX17" fmla="*/ 153951 w 174519"/>
                <a:gd name="connsiteY17" fmla="*/ 607702 h 1022185"/>
                <a:gd name="connsiteX18" fmla="*/ 135253 w 174519"/>
                <a:gd name="connsiteY18" fmla="*/ 703688 h 1022185"/>
                <a:gd name="connsiteX19" fmla="*/ 100349 w 174519"/>
                <a:gd name="connsiteY19" fmla="*/ 866988 h 1022185"/>
                <a:gd name="connsiteX20" fmla="*/ 75418 w 174519"/>
                <a:gd name="connsiteY20" fmla="*/ 976686 h 1022185"/>
                <a:gd name="connsiteX21" fmla="*/ 67938 w 174519"/>
                <a:gd name="connsiteY21" fmla="*/ 1006604 h 1022185"/>
                <a:gd name="connsiteX22" fmla="*/ 66691 w 174519"/>
                <a:gd name="connsiteY22" fmla="*/ 1016576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4519" h="1022185">
                  <a:moveTo>
                    <a:pt x="66691" y="1016576"/>
                  </a:moveTo>
                  <a:cubicBezTo>
                    <a:pt x="66691" y="1016576"/>
                    <a:pt x="66691" y="1012837"/>
                    <a:pt x="67938" y="1006604"/>
                  </a:cubicBezTo>
                  <a:cubicBezTo>
                    <a:pt x="69185" y="997878"/>
                    <a:pt x="71678" y="987905"/>
                    <a:pt x="74171" y="976686"/>
                  </a:cubicBezTo>
                  <a:cubicBezTo>
                    <a:pt x="80404" y="949262"/>
                    <a:pt x="87883" y="911865"/>
                    <a:pt x="97856" y="866988"/>
                  </a:cubicBezTo>
                  <a:cubicBezTo>
                    <a:pt x="107828" y="819619"/>
                    <a:pt x="119048" y="764770"/>
                    <a:pt x="131513" y="703688"/>
                  </a:cubicBezTo>
                  <a:cubicBezTo>
                    <a:pt x="137746" y="672523"/>
                    <a:pt x="143979" y="640113"/>
                    <a:pt x="150212" y="607702"/>
                  </a:cubicBezTo>
                  <a:cubicBezTo>
                    <a:pt x="156445" y="574045"/>
                    <a:pt x="162677" y="539141"/>
                    <a:pt x="165170" y="504237"/>
                  </a:cubicBezTo>
                  <a:cubicBezTo>
                    <a:pt x="166417" y="431936"/>
                    <a:pt x="150212" y="364621"/>
                    <a:pt x="132760" y="304786"/>
                  </a:cubicBezTo>
                  <a:cubicBezTo>
                    <a:pt x="115308" y="244951"/>
                    <a:pt x="94116" y="192595"/>
                    <a:pt x="75418" y="148965"/>
                  </a:cubicBezTo>
                  <a:cubicBezTo>
                    <a:pt x="56719" y="105335"/>
                    <a:pt x="40513" y="70431"/>
                    <a:pt x="28048" y="46746"/>
                  </a:cubicBezTo>
                  <a:cubicBezTo>
                    <a:pt x="23062" y="35527"/>
                    <a:pt x="18075" y="26801"/>
                    <a:pt x="14336" y="19322"/>
                  </a:cubicBezTo>
                  <a:cubicBezTo>
                    <a:pt x="10596" y="13089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4336" y="18075"/>
                  </a:cubicBezTo>
                  <a:cubicBezTo>
                    <a:pt x="18075" y="25554"/>
                    <a:pt x="23062" y="34281"/>
                    <a:pt x="29294" y="45500"/>
                  </a:cubicBezTo>
                  <a:cubicBezTo>
                    <a:pt x="41760" y="69184"/>
                    <a:pt x="59212" y="102842"/>
                    <a:pt x="77911" y="146472"/>
                  </a:cubicBezTo>
                  <a:cubicBezTo>
                    <a:pt x="96609" y="190102"/>
                    <a:pt x="117801" y="242457"/>
                    <a:pt x="136499" y="302293"/>
                  </a:cubicBezTo>
                  <a:cubicBezTo>
                    <a:pt x="153951" y="362128"/>
                    <a:pt x="170157" y="430689"/>
                    <a:pt x="168910" y="502990"/>
                  </a:cubicBezTo>
                  <a:cubicBezTo>
                    <a:pt x="166417" y="539141"/>
                    <a:pt x="160184" y="574045"/>
                    <a:pt x="153951" y="607702"/>
                  </a:cubicBezTo>
                  <a:cubicBezTo>
                    <a:pt x="147718" y="641359"/>
                    <a:pt x="141486" y="673770"/>
                    <a:pt x="135253" y="703688"/>
                  </a:cubicBezTo>
                  <a:cubicBezTo>
                    <a:pt x="122787" y="764770"/>
                    <a:pt x="110321" y="819619"/>
                    <a:pt x="100349" y="866988"/>
                  </a:cubicBezTo>
                  <a:cubicBezTo>
                    <a:pt x="90376" y="911865"/>
                    <a:pt x="81650" y="948015"/>
                    <a:pt x="75418" y="976686"/>
                  </a:cubicBezTo>
                  <a:cubicBezTo>
                    <a:pt x="72924" y="987905"/>
                    <a:pt x="70431" y="997878"/>
                    <a:pt x="67938" y="1006604"/>
                  </a:cubicBezTo>
                  <a:cubicBezTo>
                    <a:pt x="67938" y="1012837"/>
                    <a:pt x="66691" y="1016576"/>
                    <a:pt x="66691" y="10165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5" name="任意多边形: 形状 9944">
              <a:extLst>
                <a:ext uri="{FF2B5EF4-FFF2-40B4-BE49-F238E27FC236}">
                  <a16:creationId xmlns:a16="http://schemas.microsoft.com/office/drawing/2014/main" id="{FFD08BAB-01DD-4BFE-83F2-7824418401F7}"/>
                </a:ext>
              </a:extLst>
            </p:cNvPr>
            <p:cNvSpPr/>
            <p:nvPr/>
          </p:nvSpPr>
          <p:spPr>
            <a:xfrm>
              <a:off x="6133473" y="3626272"/>
              <a:ext cx="361505" cy="186985"/>
            </a:xfrm>
            <a:custGeom>
              <a:avLst/>
              <a:gdLst>
                <a:gd name="connsiteX0" fmla="*/ 9349 w 361504"/>
                <a:gd name="connsiteY0" fmla="*/ 9349 h 186985"/>
                <a:gd name="connsiteX1" fmla="*/ 347169 w 361504"/>
                <a:gd name="connsiteY1" fmla="*/ 177636 h 186985"/>
                <a:gd name="connsiteX2" fmla="*/ 355895 w 361504"/>
                <a:gd name="connsiteY2" fmla="*/ 176389 h 186985"/>
                <a:gd name="connsiteX3" fmla="*/ 353402 w 361504"/>
                <a:gd name="connsiteY3" fmla="*/ 147718 h 186985"/>
                <a:gd name="connsiteX4" fmla="*/ 9349 w 361504"/>
                <a:gd name="connsiteY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504" h="186985">
                  <a:moveTo>
                    <a:pt x="9349" y="9349"/>
                  </a:moveTo>
                  <a:cubicBezTo>
                    <a:pt x="9349" y="9349"/>
                    <a:pt x="34281" y="208800"/>
                    <a:pt x="347169" y="177636"/>
                  </a:cubicBezTo>
                  <a:lnTo>
                    <a:pt x="355895" y="176389"/>
                  </a:lnTo>
                  <a:lnTo>
                    <a:pt x="353402" y="147718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6" name="任意多边形: 形状 9945">
              <a:extLst>
                <a:ext uri="{FF2B5EF4-FFF2-40B4-BE49-F238E27FC236}">
                  <a16:creationId xmlns:a16="http://schemas.microsoft.com/office/drawing/2014/main" id="{07E62E02-73B2-4E37-9FC0-7E35F6F462D5}"/>
                </a:ext>
              </a:extLst>
            </p:cNvPr>
            <p:cNvSpPr/>
            <p:nvPr/>
          </p:nvSpPr>
          <p:spPr>
            <a:xfrm>
              <a:off x="6116021" y="3809517"/>
              <a:ext cx="324108" cy="149588"/>
            </a:xfrm>
            <a:custGeom>
              <a:avLst/>
              <a:gdLst>
                <a:gd name="connsiteX0" fmla="*/ 9349 w 324107"/>
                <a:gd name="connsiteY0" fmla="*/ 117800 h 149588"/>
                <a:gd name="connsiteX1" fmla="*/ 86636 w 324107"/>
                <a:gd name="connsiteY1" fmla="*/ 138992 h 149588"/>
                <a:gd name="connsiteX2" fmla="*/ 146472 w 324107"/>
                <a:gd name="connsiteY2" fmla="*/ 138992 h 149588"/>
                <a:gd name="connsiteX3" fmla="*/ 320991 w 324107"/>
                <a:gd name="connsiteY3" fmla="*/ 9349 h 149588"/>
                <a:gd name="connsiteX4" fmla="*/ 101595 w 324107"/>
                <a:gd name="connsiteY4" fmla="*/ 132759 h 149588"/>
                <a:gd name="connsiteX5" fmla="*/ 9349 w 324107"/>
                <a:gd name="connsiteY5" fmla="*/ 117800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107" h="149588">
                  <a:moveTo>
                    <a:pt x="9349" y="117800"/>
                  </a:moveTo>
                  <a:lnTo>
                    <a:pt x="86636" y="138992"/>
                  </a:lnTo>
                  <a:cubicBezTo>
                    <a:pt x="106581" y="143978"/>
                    <a:pt x="126527" y="143978"/>
                    <a:pt x="146472" y="138992"/>
                  </a:cubicBezTo>
                  <a:cubicBezTo>
                    <a:pt x="200074" y="124033"/>
                    <a:pt x="303539" y="85390"/>
                    <a:pt x="320991" y="9349"/>
                  </a:cubicBezTo>
                  <a:cubicBezTo>
                    <a:pt x="266142" y="72924"/>
                    <a:pt x="188855" y="107828"/>
                    <a:pt x="101595" y="132759"/>
                  </a:cubicBezTo>
                  <a:lnTo>
                    <a:pt x="9349" y="117800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7" name="任意多边形: 形状 9946">
              <a:extLst>
                <a:ext uri="{FF2B5EF4-FFF2-40B4-BE49-F238E27FC236}">
                  <a16:creationId xmlns:a16="http://schemas.microsoft.com/office/drawing/2014/main" id="{012C6B2C-4CB7-4AB5-B072-1C9174516A67}"/>
                </a:ext>
              </a:extLst>
            </p:cNvPr>
            <p:cNvSpPr/>
            <p:nvPr/>
          </p:nvSpPr>
          <p:spPr>
            <a:xfrm>
              <a:off x="6364088" y="4097474"/>
              <a:ext cx="37397" cy="37397"/>
            </a:xfrm>
            <a:custGeom>
              <a:avLst/>
              <a:gdLst>
                <a:gd name="connsiteX0" fmla="*/ 33034 w 37397"/>
                <a:gd name="connsiteY0" fmla="*/ 20569 h 37397"/>
                <a:gd name="connsiteX1" fmla="*/ 21815 w 37397"/>
                <a:gd name="connsiteY1" fmla="*/ 33034 h 37397"/>
                <a:gd name="connsiteX2" fmla="*/ 9349 w 37397"/>
                <a:gd name="connsiteY2" fmla="*/ 21815 h 37397"/>
                <a:gd name="connsiteX3" fmla="*/ 20568 w 37397"/>
                <a:gd name="connsiteY3" fmla="*/ 9349 h 37397"/>
                <a:gd name="connsiteX4" fmla="*/ 33034 w 37397"/>
                <a:gd name="connsiteY4" fmla="*/ 20569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3034" y="20569"/>
                  </a:moveTo>
                  <a:cubicBezTo>
                    <a:pt x="33034" y="26802"/>
                    <a:pt x="28048" y="33034"/>
                    <a:pt x="21815" y="33034"/>
                  </a:cubicBezTo>
                  <a:cubicBezTo>
                    <a:pt x="15582" y="33034"/>
                    <a:pt x="9349" y="28048"/>
                    <a:pt x="9349" y="21815"/>
                  </a:cubicBezTo>
                  <a:cubicBezTo>
                    <a:pt x="9349" y="15582"/>
                    <a:pt x="14335" y="9349"/>
                    <a:pt x="20568" y="9349"/>
                  </a:cubicBezTo>
                  <a:cubicBezTo>
                    <a:pt x="26801" y="9349"/>
                    <a:pt x="31787" y="14336"/>
                    <a:pt x="33034" y="2056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8" name="任意多边形: 形状 9947">
              <a:extLst>
                <a:ext uri="{FF2B5EF4-FFF2-40B4-BE49-F238E27FC236}">
                  <a16:creationId xmlns:a16="http://schemas.microsoft.com/office/drawing/2014/main" id="{397C3E77-0974-4927-B8B8-B12D59C5B81A}"/>
                </a:ext>
              </a:extLst>
            </p:cNvPr>
            <p:cNvSpPr/>
            <p:nvPr/>
          </p:nvSpPr>
          <p:spPr>
            <a:xfrm>
              <a:off x="10315710" y="3753422"/>
              <a:ext cx="37397" cy="74794"/>
            </a:xfrm>
            <a:custGeom>
              <a:avLst/>
              <a:gdLst>
                <a:gd name="connsiteX0" fmla="*/ 9349 w 37397"/>
                <a:gd name="connsiteY0" fmla="*/ 66691 h 74794"/>
                <a:gd name="connsiteX1" fmla="*/ 33034 w 37397"/>
                <a:gd name="connsiteY1" fmla="*/ 30541 h 74794"/>
                <a:gd name="connsiteX2" fmla="*/ 9349 w 37397"/>
                <a:gd name="connsiteY2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97" h="74794">
                  <a:moveTo>
                    <a:pt x="9349" y="66691"/>
                  </a:moveTo>
                  <a:cubicBezTo>
                    <a:pt x="13089" y="52979"/>
                    <a:pt x="20569" y="39267"/>
                    <a:pt x="33034" y="30541"/>
                  </a:cubicBezTo>
                  <a:cubicBezTo>
                    <a:pt x="25554" y="23061"/>
                    <a:pt x="18075" y="15582"/>
                    <a:pt x="9349" y="934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9" name="任意多边形: 形状 9948">
              <a:extLst>
                <a:ext uri="{FF2B5EF4-FFF2-40B4-BE49-F238E27FC236}">
                  <a16:creationId xmlns:a16="http://schemas.microsoft.com/office/drawing/2014/main" id="{92F6076E-11A8-4F91-BFBC-73DF0DAFA334}"/>
                </a:ext>
              </a:extLst>
            </p:cNvPr>
            <p:cNvSpPr/>
            <p:nvPr/>
          </p:nvSpPr>
          <p:spPr>
            <a:xfrm>
              <a:off x="10208505" y="3734723"/>
              <a:ext cx="124657" cy="137123"/>
            </a:xfrm>
            <a:custGeom>
              <a:avLst/>
              <a:gdLst>
                <a:gd name="connsiteX0" fmla="*/ 119047 w 124656"/>
                <a:gd name="connsiteY0" fmla="*/ 18075 h 137122"/>
                <a:gd name="connsiteX1" fmla="*/ 85390 w 124656"/>
                <a:gd name="connsiteY1" fmla="*/ 14336 h 137122"/>
                <a:gd name="connsiteX2" fmla="*/ 41760 w 124656"/>
                <a:gd name="connsiteY2" fmla="*/ 10596 h 137122"/>
                <a:gd name="connsiteX3" fmla="*/ 36773 w 124656"/>
                <a:gd name="connsiteY3" fmla="*/ 11842 h 137122"/>
                <a:gd name="connsiteX4" fmla="*/ 40513 w 124656"/>
                <a:gd name="connsiteY4" fmla="*/ 25555 h 137122"/>
                <a:gd name="connsiteX5" fmla="*/ 57965 w 124656"/>
                <a:gd name="connsiteY5" fmla="*/ 30541 h 137122"/>
                <a:gd name="connsiteX6" fmla="*/ 60458 w 124656"/>
                <a:gd name="connsiteY6" fmla="*/ 33034 h 137122"/>
                <a:gd name="connsiteX7" fmla="*/ 55472 w 124656"/>
                <a:gd name="connsiteY7" fmla="*/ 40514 h 137122"/>
                <a:gd name="connsiteX8" fmla="*/ 14335 w 124656"/>
                <a:gd name="connsiteY8" fmla="*/ 81650 h 137122"/>
                <a:gd name="connsiteX9" fmla="*/ 9349 w 124656"/>
                <a:gd name="connsiteY9" fmla="*/ 91623 h 137122"/>
                <a:gd name="connsiteX10" fmla="*/ 14335 w 124656"/>
                <a:gd name="connsiteY10" fmla="*/ 101595 h 137122"/>
                <a:gd name="connsiteX11" fmla="*/ 41760 w 124656"/>
                <a:gd name="connsiteY11" fmla="*/ 90376 h 137122"/>
                <a:gd name="connsiteX12" fmla="*/ 36773 w 124656"/>
                <a:gd name="connsiteY12" fmla="*/ 115308 h 137122"/>
                <a:gd name="connsiteX13" fmla="*/ 39266 w 124656"/>
                <a:gd name="connsiteY13" fmla="*/ 122787 h 137122"/>
                <a:gd name="connsiteX14" fmla="*/ 43006 w 124656"/>
                <a:gd name="connsiteY14" fmla="*/ 121541 h 137122"/>
                <a:gd name="connsiteX15" fmla="*/ 62952 w 124656"/>
                <a:gd name="connsiteY15" fmla="*/ 100349 h 137122"/>
                <a:gd name="connsiteX16" fmla="*/ 62952 w 124656"/>
                <a:gd name="connsiteY16" fmla="*/ 125280 h 137122"/>
                <a:gd name="connsiteX17" fmla="*/ 72924 w 124656"/>
                <a:gd name="connsiteY17" fmla="*/ 136499 h 137122"/>
                <a:gd name="connsiteX18" fmla="*/ 85390 w 124656"/>
                <a:gd name="connsiteY18" fmla="*/ 111568 h 137122"/>
                <a:gd name="connsiteX19" fmla="*/ 89129 w 124656"/>
                <a:gd name="connsiteY19" fmla="*/ 135252 h 137122"/>
                <a:gd name="connsiteX20" fmla="*/ 106581 w 124656"/>
                <a:gd name="connsiteY20" fmla="*/ 121541 h 137122"/>
                <a:gd name="connsiteX21" fmla="*/ 117800 w 124656"/>
                <a:gd name="connsiteY21" fmla="*/ 816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4656" h="137122">
                  <a:moveTo>
                    <a:pt x="119047" y="18075"/>
                  </a:moveTo>
                  <a:cubicBezTo>
                    <a:pt x="109075" y="24308"/>
                    <a:pt x="96609" y="18075"/>
                    <a:pt x="85390" y="14336"/>
                  </a:cubicBezTo>
                  <a:cubicBezTo>
                    <a:pt x="71678" y="9349"/>
                    <a:pt x="56719" y="8103"/>
                    <a:pt x="41760" y="10596"/>
                  </a:cubicBezTo>
                  <a:cubicBezTo>
                    <a:pt x="40513" y="10596"/>
                    <a:pt x="38020" y="10596"/>
                    <a:pt x="36773" y="11842"/>
                  </a:cubicBezTo>
                  <a:cubicBezTo>
                    <a:pt x="31787" y="15582"/>
                    <a:pt x="35527" y="23061"/>
                    <a:pt x="40513" y="25555"/>
                  </a:cubicBezTo>
                  <a:cubicBezTo>
                    <a:pt x="45499" y="28048"/>
                    <a:pt x="51732" y="28048"/>
                    <a:pt x="57965" y="30541"/>
                  </a:cubicBezTo>
                  <a:cubicBezTo>
                    <a:pt x="59212" y="31787"/>
                    <a:pt x="60458" y="31787"/>
                    <a:pt x="60458" y="33034"/>
                  </a:cubicBezTo>
                  <a:cubicBezTo>
                    <a:pt x="61705" y="35527"/>
                    <a:pt x="57965" y="39267"/>
                    <a:pt x="55472" y="40514"/>
                  </a:cubicBezTo>
                  <a:cubicBezTo>
                    <a:pt x="39266" y="51733"/>
                    <a:pt x="25554" y="66691"/>
                    <a:pt x="14335" y="81650"/>
                  </a:cubicBezTo>
                  <a:cubicBezTo>
                    <a:pt x="11842" y="84143"/>
                    <a:pt x="10596" y="87883"/>
                    <a:pt x="9349" y="91623"/>
                  </a:cubicBezTo>
                  <a:cubicBezTo>
                    <a:pt x="9349" y="95363"/>
                    <a:pt x="10596" y="99102"/>
                    <a:pt x="14335" y="101595"/>
                  </a:cubicBezTo>
                  <a:cubicBezTo>
                    <a:pt x="21815" y="105335"/>
                    <a:pt x="33034" y="87883"/>
                    <a:pt x="41760" y="90376"/>
                  </a:cubicBezTo>
                  <a:cubicBezTo>
                    <a:pt x="40513" y="96609"/>
                    <a:pt x="36773" y="107828"/>
                    <a:pt x="36773" y="115308"/>
                  </a:cubicBezTo>
                  <a:cubicBezTo>
                    <a:pt x="36773" y="117801"/>
                    <a:pt x="36773" y="121541"/>
                    <a:pt x="39266" y="122787"/>
                  </a:cubicBezTo>
                  <a:cubicBezTo>
                    <a:pt x="40513" y="122787"/>
                    <a:pt x="41760" y="122787"/>
                    <a:pt x="43006" y="121541"/>
                  </a:cubicBezTo>
                  <a:cubicBezTo>
                    <a:pt x="49239" y="117801"/>
                    <a:pt x="56719" y="105335"/>
                    <a:pt x="62952" y="100349"/>
                  </a:cubicBezTo>
                  <a:cubicBezTo>
                    <a:pt x="65445" y="105335"/>
                    <a:pt x="61705" y="120294"/>
                    <a:pt x="62952" y="125280"/>
                  </a:cubicBezTo>
                  <a:cubicBezTo>
                    <a:pt x="62952" y="130266"/>
                    <a:pt x="67937" y="137746"/>
                    <a:pt x="72924" y="136499"/>
                  </a:cubicBezTo>
                  <a:cubicBezTo>
                    <a:pt x="80403" y="135252"/>
                    <a:pt x="80403" y="117801"/>
                    <a:pt x="85390" y="111568"/>
                  </a:cubicBezTo>
                  <a:cubicBezTo>
                    <a:pt x="90376" y="107828"/>
                    <a:pt x="85390" y="122787"/>
                    <a:pt x="89129" y="135252"/>
                  </a:cubicBezTo>
                  <a:cubicBezTo>
                    <a:pt x="89129" y="135252"/>
                    <a:pt x="97855" y="147718"/>
                    <a:pt x="106581" y="121541"/>
                  </a:cubicBezTo>
                  <a:cubicBezTo>
                    <a:pt x="115308" y="95363"/>
                    <a:pt x="117800" y="81650"/>
                    <a:pt x="117800" y="81650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0" name="任意多边形: 形状 9949">
              <a:extLst>
                <a:ext uri="{FF2B5EF4-FFF2-40B4-BE49-F238E27FC236}">
                  <a16:creationId xmlns:a16="http://schemas.microsoft.com/office/drawing/2014/main" id="{3BF2E343-740B-4393-9DCE-DDAD087303D6}"/>
                </a:ext>
              </a:extLst>
            </p:cNvPr>
            <p:cNvSpPr/>
            <p:nvPr/>
          </p:nvSpPr>
          <p:spPr>
            <a:xfrm>
              <a:off x="10334216" y="3034152"/>
              <a:ext cx="87260" cy="137123"/>
            </a:xfrm>
            <a:custGeom>
              <a:avLst/>
              <a:gdLst>
                <a:gd name="connsiteX0" fmla="*/ 43200 w 87259"/>
                <a:gd name="connsiteY0" fmla="*/ 131513 h 137122"/>
                <a:gd name="connsiteX1" fmla="*/ 10788 w 87259"/>
                <a:gd name="connsiteY1" fmla="*/ 64198 h 137122"/>
                <a:gd name="connsiteX2" fmla="*/ 10788 w 87259"/>
                <a:gd name="connsiteY2" fmla="*/ 54226 h 137122"/>
                <a:gd name="connsiteX3" fmla="*/ 19514 w 87259"/>
                <a:gd name="connsiteY3" fmla="*/ 56719 h 137122"/>
                <a:gd name="connsiteX4" fmla="*/ 26994 w 87259"/>
                <a:gd name="connsiteY4" fmla="*/ 62952 h 137122"/>
                <a:gd name="connsiteX5" fmla="*/ 25747 w 87259"/>
                <a:gd name="connsiteY5" fmla="*/ 34281 h 137122"/>
                <a:gd name="connsiteX6" fmla="*/ 34473 w 87259"/>
                <a:gd name="connsiteY6" fmla="*/ 9349 h 137122"/>
                <a:gd name="connsiteX7" fmla="*/ 54418 w 87259"/>
                <a:gd name="connsiteY7" fmla="*/ 57965 h 137122"/>
                <a:gd name="connsiteX8" fmla="*/ 53172 w 87259"/>
                <a:gd name="connsiteY8" fmla="*/ 26801 h 137122"/>
                <a:gd name="connsiteX9" fmla="*/ 54418 w 87259"/>
                <a:gd name="connsiteY9" fmla="*/ 18075 h 137122"/>
                <a:gd name="connsiteX10" fmla="*/ 60651 w 87259"/>
                <a:gd name="connsiteY10" fmla="*/ 15582 h 137122"/>
                <a:gd name="connsiteX11" fmla="*/ 63144 w 87259"/>
                <a:gd name="connsiteY11" fmla="*/ 24308 h 137122"/>
                <a:gd name="connsiteX12" fmla="*/ 85582 w 87259"/>
                <a:gd name="connsiteY12" fmla="*/ 130266 h 137122"/>
                <a:gd name="connsiteX13" fmla="*/ 70624 w 87259"/>
                <a:gd name="connsiteY13" fmla="*/ 126527 h 137122"/>
                <a:gd name="connsiteX14" fmla="*/ 43200 w 87259"/>
                <a:gd name="connsiteY14" fmla="*/ 131513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259" h="137122">
                  <a:moveTo>
                    <a:pt x="43200" y="131513"/>
                  </a:moveTo>
                  <a:cubicBezTo>
                    <a:pt x="30734" y="110321"/>
                    <a:pt x="19514" y="87883"/>
                    <a:pt x="10788" y="64198"/>
                  </a:cubicBezTo>
                  <a:cubicBezTo>
                    <a:pt x="9542" y="60459"/>
                    <a:pt x="8296" y="56719"/>
                    <a:pt x="10788" y="54226"/>
                  </a:cubicBezTo>
                  <a:cubicBezTo>
                    <a:pt x="13282" y="51733"/>
                    <a:pt x="17021" y="54226"/>
                    <a:pt x="19514" y="56719"/>
                  </a:cubicBezTo>
                  <a:cubicBezTo>
                    <a:pt x="22008" y="59212"/>
                    <a:pt x="24501" y="62952"/>
                    <a:pt x="26994" y="62952"/>
                  </a:cubicBezTo>
                  <a:cubicBezTo>
                    <a:pt x="29487" y="54226"/>
                    <a:pt x="26994" y="44253"/>
                    <a:pt x="25747" y="34281"/>
                  </a:cubicBezTo>
                  <a:cubicBezTo>
                    <a:pt x="24501" y="24308"/>
                    <a:pt x="26994" y="13089"/>
                    <a:pt x="34473" y="9349"/>
                  </a:cubicBezTo>
                  <a:cubicBezTo>
                    <a:pt x="41953" y="25555"/>
                    <a:pt x="48185" y="41760"/>
                    <a:pt x="54418" y="57965"/>
                  </a:cubicBezTo>
                  <a:cubicBezTo>
                    <a:pt x="53172" y="47993"/>
                    <a:pt x="53172" y="36774"/>
                    <a:pt x="53172" y="26801"/>
                  </a:cubicBezTo>
                  <a:cubicBezTo>
                    <a:pt x="53172" y="24308"/>
                    <a:pt x="53172" y="20568"/>
                    <a:pt x="54418" y="18075"/>
                  </a:cubicBezTo>
                  <a:cubicBezTo>
                    <a:pt x="55665" y="15582"/>
                    <a:pt x="58159" y="14335"/>
                    <a:pt x="60651" y="15582"/>
                  </a:cubicBezTo>
                  <a:cubicBezTo>
                    <a:pt x="63144" y="16829"/>
                    <a:pt x="63144" y="20568"/>
                    <a:pt x="63144" y="24308"/>
                  </a:cubicBezTo>
                  <a:cubicBezTo>
                    <a:pt x="64391" y="60459"/>
                    <a:pt x="69377" y="99102"/>
                    <a:pt x="85582" y="130266"/>
                  </a:cubicBezTo>
                  <a:cubicBezTo>
                    <a:pt x="81843" y="125280"/>
                    <a:pt x="75610" y="125280"/>
                    <a:pt x="70624" y="126527"/>
                  </a:cubicBezTo>
                  <a:cubicBezTo>
                    <a:pt x="63144" y="127773"/>
                    <a:pt x="53172" y="130266"/>
                    <a:pt x="43200" y="131513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1" name="任意多边形: 形状 9950">
              <a:extLst>
                <a:ext uri="{FF2B5EF4-FFF2-40B4-BE49-F238E27FC236}">
                  <a16:creationId xmlns:a16="http://schemas.microsoft.com/office/drawing/2014/main" id="{F66D4711-2976-4FD4-9446-44100D1DC855}"/>
                </a:ext>
              </a:extLst>
            </p:cNvPr>
            <p:cNvSpPr/>
            <p:nvPr/>
          </p:nvSpPr>
          <p:spPr>
            <a:xfrm>
              <a:off x="10722091" y="4741950"/>
              <a:ext cx="74794" cy="87260"/>
            </a:xfrm>
            <a:custGeom>
              <a:avLst/>
              <a:gdLst>
                <a:gd name="connsiteX0" fmla="*/ 52979 w 74794"/>
                <a:gd name="connsiteY0" fmla="*/ 10596 h 87259"/>
                <a:gd name="connsiteX1" fmla="*/ 69185 w 74794"/>
                <a:gd name="connsiteY1" fmla="*/ 82897 h 87259"/>
                <a:gd name="connsiteX2" fmla="*/ 30541 w 74794"/>
                <a:gd name="connsiteY2" fmla="*/ 81650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2979" y="10596"/>
                  </a:moveTo>
                  <a:lnTo>
                    <a:pt x="69185" y="82897"/>
                  </a:lnTo>
                  <a:lnTo>
                    <a:pt x="30541" y="81650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2" name="任意多边形: 形状 9951">
              <a:extLst>
                <a:ext uri="{FF2B5EF4-FFF2-40B4-BE49-F238E27FC236}">
                  <a16:creationId xmlns:a16="http://schemas.microsoft.com/office/drawing/2014/main" id="{ACC64B9D-F256-492F-AE23-74C6AD0EEC5E}"/>
                </a:ext>
              </a:extLst>
            </p:cNvPr>
            <p:cNvSpPr/>
            <p:nvPr/>
          </p:nvSpPr>
          <p:spPr>
            <a:xfrm>
              <a:off x="10581079" y="4813005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39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39"/>
                  </a:cubicBezTo>
                  <a:lnTo>
                    <a:pt x="9499" y="65445"/>
                  </a:lnTo>
                  <a:cubicBezTo>
                    <a:pt x="9499" y="65445"/>
                    <a:pt x="-1720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3" name="任意多边形: 形状 9952">
              <a:extLst>
                <a:ext uri="{FF2B5EF4-FFF2-40B4-BE49-F238E27FC236}">
                  <a16:creationId xmlns:a16="http://schemas.microsoft.com/office/drawing/2014/main" id="{A331B8E5-6B1F-4656-A0CA-796746416E4F}"/>
                </a:ext>
              </a:extLst>
            </p:cNvPr>
            <p:cNvSpPr/>
            <p:nvPr/>
          </p:nvSpPr>
          <p:spPr>
            <a:xfrm>
              <a:off x="10680954" y="4809577"/>
              <a:ext cx="49863" cy="37397"/>
            </a:xfrm>
            <a:custGeom>
              <a:avLst/>
              <a:gdLst>
                <a:gd name="connsiteX0" fmla="*/ 11843 w 49862"/>
                <a:gd name="connsiteY0" fmla="*/ 10284 h 37397"/>
                <a:gd name="connsiteX1" fmla="*/ 10596 w 49862"/>
                <a:gd name="connsiteY1" fmla="*/ 10284 h 37397"/>
                <a:gd name="connsiteX2" fmla="*/ 11843 w 49862"/>
                <a:gd name="connsiteY2" fmla="*/ 10284 h 37397"/>
                <a:gd name="connsiteX3" fmla="*/ 33034 w 49862"/>
                <a:gd name="connsiteY3" fmla="*/ 17764 h 37397"/>
                <a:gd name="connsiteX4" fmla="*/ 47993 w 49862"/>
                <a:gd name="connsiteY4" fmla="*/ 37709 h 37397"/>
                <a:gd name="connsiteX5" fmla="*/ 29295 w 49862"/>
                <a:gd name="connsiteY5" fmla="*/ 22750 h 37397"/>
                <a:gd name="connsiteX6" fmla="*/ 9349 w 49862"/>
                <a:gd name="connsiteY6" fmla="*/ 11531 h 37397"/>
                <a:gd name="connsiteX7" fmla="*/ 11843 w 49862"/>
                <a:gd name="connsiteY7" fmla="*/ 10284 h 37397"/>
                <a:gd name="connsiteX8" fmla="*/ 11843 w 49862"/>
                <a:gd name="connsiteY8" fmla="*/ 102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3" y="10284"/>
                  </a:moveTo>
                  <a:cubicBezTo>
                    <a:pt x="11843" y="10284"/>
                    <a:pt x="11843" y="10284"/>
                    <a:pt x="10596" y="10284"/>
                  </a:cubicBezTo>
                  <a:lnTo>
                    <a:pt x="11843" y="10284"/>
                  </a:lnTo>
                  <a:cubicBezTo>
                    <a:pt x="14336" y="9038"/>
                    <a:pt x="23062" y="11531"/>
                    <a:pt x="33034" y="17764"/>
                  </a:cubicBezTo>
                  <a:cubicBezTo>
                    <a:pt x="45500" y="25243"/>
                    <a:pt x="49240" y="36462"/>
                    <a:pt x="47993" y="37709"/>
                  </a:cubicBezTo>
                  <a:cubicBezTo>
                    <a:pt x="46746" y="38955"/>
                    <a:pt x="40513" y="28983"/>
                    <a:pt x="29295" y="22750"/>
                  </a:cubicBezTo>
                  <a:cubicBezTo>
                    <a:pt x="20569" y="16517"/>
                    <a:pt x="11843" y="14024"/>
                    <a:pt x="9349" y="11531"/>
                  </a:cubicBezTo>
                  <a:lnTo>
                    <a:pt x="11843" y="10284"/>
                  </a:lnTo>
                  <a:cubicBezTo>
                    <a:pt x="10596" y="9038"/>
                    <a:pt x="11843" y="9038"/>
                    <a:pt x="11843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4" name="任意多边形: 形状 9953">
              <a:extLst>
                <a:ext uri="{FF2B5EF4-FFF2-40B4-BE49-F238E27FC236}">
                  <a16:creationId xmlns:a16="http://schemas.microsoft.com/office/drawing/2014/main" id="{78ADD4A0-78A7-481A-BDB3-DCE921CC21D8}"/>
                </a:ext>
              </a:extLst>
            </p:cNvPr>
            <p:cNvSpPr/>
            <p:nvPr/>
          </p:nvSpPr>
          <p:spPr>
            <a:xfrm>
              <a:off x="10667242" y="4814846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3 h 37397"/>
                <a:gd name="connsiteX3" fmla="*/ 28048 w 49862"/>
                <a:gd name="connsiteY3" fmla="*/ 18727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499" y="31193"/>
                    <a:pt x="44253" y="31193"/>
                  </a:cubicBezTo>
                  <a:cubicBezTo>
                    <a:pt x="43007" y="32439"/>
                    <a:pt x="38020" y="24960"/>
                    <a:pt x="28048" y="18727"/>
                  </a:cubicBezTo>
                  <a:cubicBezTo>
                    <a:pt x="18075" y="13741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5" name="任意多边形: 形状 9954">
              <a:extLst>
                <a:ext uri="{FF2B5EF4-FFF2-40B4-BE49-F238E27FC236}">
                  <a16:creationId xmlns:a16="http://schemas.microsoft.com/office/drawing/2014/main" id="{8039035A-7C9A-4CA4-B75C-E548B4B1F6AB}"/>
                </a:ext>
              </a:extLst>
            </p:cNvPr>
            <p:cNvSpPr/>
            <p:nvPr/>
          </p:nvSpPr>
          <p:spPr>
            <a:xfrm>
              <a:off x="10652283" y="4819792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2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2"/>
                  </a:cubicBezTo>
                  <a:cubicBezTo>
                    <a:pt x="35527" y="18768"/>
                    <a:pt x="40513" y="26247"/>
                    <a:pt x="39267" y="27494"/>
                  </a:cubicBezTo>
                  <a:cubicBezTo>
                    <a:pt x="38020" y="28740"/>
                    <a:pt x="33034" y="23754"/>
                    <a:pt x="24308" y="18768"/>
                  </a:cubicBezTo>
                  <a:cubicBezTo>
                    <a:pt x="16828" y="13782"/>
                    <a:pt x="9349" y="11288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6" name="任意多边形: 形状 9955">
              <a:extLst>
                <a:ext uri="{FF2B5EF4-FFF2-40B4-BE49-F238E27FC236}">
                  <a16:creationId xmlns:a16="http://schemas.microsoft.com/office/drawing/2014/main" id="{224EBE89-6395-4493-9CEA-60D52BFF7CE6}"/>
                </a:ext>
              </a:extLst>
            </p:cNvPr>
            <p:cNvSpPr/>
            <p:nvPr/>
          </p:nvSpPr>
          <p:spPr>
            <a:xfrm>
              <a:off x="10707133" y="4790566"/>
              <a:ext cx="49863" cy="49863"/>
            </a:xfrm>
            <a:custGeom>
              <a:avLst/>
              <a:gdLst>
                <a:gd name="connsiteX0" fmla="*/ 24307 w 49862"/>
                <a:gd name="connsiteY0" fmla="*/ 43007 h 49862"/>
                <a:gd name="connsiteX1" fmla="*/ 25554 w 49862"/>
                <a:gd name="connsiteY1" fmla="*/ 38021 h 49862"/>
                <a:gd name="connsiteX2" fmla="*/ 23061 w 49862"/>
                <a:gd name="connsiteY2" fmla="*/ 24308 h 49862"/>
                <a:gd name="connsiteX3" fmla="*/ 19322 w 49862"/>
                <a:gd name="connsiteY3" fmla="*/ 15582 h 49862"/>
                <a:gd name="connsiteX4" fmla="*/ 16828 w 49862"/>
                <a:gd name="connsiteY4" fmla="*/ 13089 h 49862"/>
                <a:gd name="connsiteX5" fmla="*/ 16828 w 49862"/>
                <a:gd name="connsiteY5" fmla="*/ 15582 h 49862"/>
                <a:gd name="connsiteX6" fmla="*/ 18075 w 49862"/>
                <a:gd name="connsiteY6" fmla="*/ 28048 h 49862"/>
                <a:gd name="connsiteX7" fmla="*/ 23061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6 w 49862"/>
                <a:gd name="connsiteY11" fmla="*/ 21815 h 49862"/>
                <a:gd name="connsiteX12" fmla="*/ 31787 w 49862"/>
                <a:gd name="connsiteY12" fmla="*/ 28048 h 49862"/>
                <a:gd name="connsiteX13" fmla="*/ 20568 w 49862"/>
                <a:gd name="connsiteY13" fmla="*/ 44253 h 49862"/>
                <a:gd name="connsiteX14" fmla="*/ 29294 w 49862"/>
                <a:gd name="connsiteY14" fmla="*/ 25555 h 49862"/>
                <a:gd name="connsiteX15" fmla="*/ 36773 w 49862"/>
                <a:gd name="connsiteY15" fmla="*/ 18075 h 49862"/>
                <a:gd name="connsiteX16" fmla="*/ 39266 w 49862"/>
                <a:gd name="connsiteY16" fmla="*/ 16829 h 49862"/>
                <a:gd name="connsiteX17" fmla="*/ 44253 w 49862"/>
                <a:gd name="connsiteY17" fmla="*/ 18075 h 49862"/>
                <a:gd name="connsiteX18" fmla="*/ 44253 w 49862"/>
                <a:gd name="connsiteY18" fmla="*/ 25555 h 49862"/>
                <a:gd name="connsiteX19" fmla="*/ 34281 w 49862"/>
                <a:gd name="connsiteY19" fmla="*/ 36774 h 49862"/>
                <a:gd name="connsiteX20" fmla="*/ 20568 w 49862"/>
                <a:gd name="connsiteY20" fmla="*/ 41760 h 49862"/>
                <a:gd name="connsiteX21" fmla="*/ 15582 w 49862"/>
                <a:gd name="connsiteY21" fmla="*/ 39267 h 49862"/>
                <a:gd name="connsiteX22" fmla="*/ 13089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5 w 49862"/>
                <a:gd name="connsiteY25" fmla="*/ 9349 h 49862"/>
                <a:gd name="connsiteX26" fmla="*/ 20568 w 49862"/>
                <a:gd name="connsiteY26" fmla="*/ 14335 h 49862"/>
                <a:gd name="connsiteX27" fmla="*/ 23061 w 49862"/>
                <a:gd name="connsiteY27" fmla="*/ 24308 h 49862"/>
                <a:gd name="connsiteX28" fmla="*/ 24307 w 49862"/>
                <a:gd name="connsiteY28" fmla="*/ 39267 h 49862"/>
                <a:gd name="connsiteX29" fmla="*/ 24307 w 49862"/>
                <a:gd name="connsiteY29" fmla="*/ 43007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7" y="43007"/>
                  </a:moveTo>
                  <a:cubicBezTo>
                    <a:pt x="24307" y="43007"/>
                    <a:pt x="24307" y="40513"/>
                    <a:pt x="25554" y="38021"/>
                  </a:cubicBezTo>
                  <a:cubicBezTo>
                    <a:pt x="25554" y="34281"/>
                    <a:pt x="24307" y="30541"/>
                    <a:pt x="23061" y="24308"/>
                  </a:cubicBezTo>
                  <a:cubicBezTo>
                    <a:pt x="21815" y="21815"/>
                    <a:pt x="20568" y="18075"/>
                    <a:pt x="19322" y="15582"/>
                  </a:cubicBezTo>
                  <a:cubicBezTo>
                    <a:pt x="18075" y="14335"/>
                    <a:pt x="18075" y="13089"/>
                    <a:pt x="16828" y="13089"/>
                  </a:cubicBezTo>
                  <a:cubicBezTo>
                    <a:pt x="16828" y="13089"/>
                    <a:pt x="16828" y="13089"/>
                    <a:pt x="16828" y="15582"/>
                  </a:cubicBezTo>
                  <a:cubicBezTo>
                    <a:pt x="16828" y="19322"/>
                    <a:pt x="16828" y="23062"/>
                    <a:pt x="18075" y="28048"/>
                  </a:cubicBezTo>
                  <a:cubicBezTo>
                    <a:pt x="19322" y="31788"/>
                    <a:pt x="21815" y="38021"/>
                    <a:pt x="23061" y="36774"/>
                  </a:cubicBezTo>
                  <a:cubicBezTo>
                    <a:pt x="29294" y="34281"/>
                    <a:pt x="40513" y="30541"/>
                    <a:pt x="41760" y="24308"/>
                  </a:cubicBezTo>
                  <a:cubicBezTo>
                    <a:pt x="41760" y="23062"/>
                    <a:pt x="41760" y="20568"/>
                    <a:pt x="41760" y="20568"/>
                  </a:cubicBezTo>
                  <a:cubicBezTo>
                    <a:pt x="41760" y="20568"/>
                    <a:pt x="43006" y="20568"/>
                    <a:pt x="41760" y="20568"/>
                  </a:cubicBezTo>
                  <a:lnTo>
                    <a:pt x="39266" y="21815"/>
                  </a:lnTo>
                  <a:cubicBezTo>
                    <a:pt x="36773" y="24308"/>
                    <a:pt x="34281" y="25555"/>
                    <a:pt x="31787" y="28048"/>
                  </a:cubicBezTo>
                  <a:cubicBezTo>
                    <a:pt x="23061" y="36774"/>
                    <a:pt x="20568" y="44253"/>
                    <a:pt x="20568" y="44253"/>
                  </a:cubicBezTo>
                  <a:cubicBezTo>
                    <a:pt x="20568" y="44253"/>
                    <a:pt x="21815" y="35527"/>
                    <a:pt x="29294" y="25555"/>
                  </a:cubicBezTo>
                  <a:cubicBezTo>
                    <a:pt x="31787" y="23062"/>
                    <a:pt x="34281" y="20568"/>
                    <a:pt x="36773" y="18075"/>
                  </a:cubicBezTo>
                  <a:lnTo>
                    <a:pt x="39266" y="16829"/>
                  </a:lnTo>
                  <a:cubicBezTo>
                    <a:pt x="39266" y="15582"/>
                    <a:pt x="44253" y="15582"/>
                    <a:pt x="44253" y="18075"/>
                  </a:cubicBezTo>
                  <a:cubicBezTo>
                    <a:pt x="45499" y="21815"/>
                    <a:pt x="45499" y="23062"/>
                    <a:pt x="44253" y="25555"/>
                  </a:cubicBezTo>
                  <a:cubicBezTo>
                    <a:pt x="43006" y="30541"/>
                    <a:pt x="39266" y="34281"/>
                    <a:pt x="34281" y="36774"/>
                  </a:cubicBezTo>
                  <a:cubicBezTo>
                    <a:pt x="29294" y="39267"/>
                    <a:pt x="26801" y="40513"/>
                    <a:pt x="20568" y="41760"/>
                  </a:cubicBezTo>
                  <a:cubicBezTo>
                    <a:pt x="19322" y="41760"/>
                    <a:pt x="16828" y="40513"/>
                    <a:pt x="15582" y="39267"/>
                  </a:cubicBezTo>
                  <a:cubicBezTo>
                    <a:pt x="14335" y="38021"/>
                    <a:pt x="14335" y="36774"/>
                    <a:pt x="13089" y="35527"/>
                  </a:cubicBezTo>
                  <a:cubicBezTo>
                    <a:pt x="11842" y="33034"/>
                    <a:pt x="11842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5" y="9349"/>
                  </a:cubicBezTo>
                  <a:cubicBezTo>
                    <a:pt x="18075" y="9349"/>
                    <a:pt x="19322" y="11843"/>
                    <a:pt x="20568" y="14335"/>
                  </a:cubicBezTo>
                  <a:cubicBezTo>
                    <a:pt x="21815" y="18075"/>
                    <a:pt x="23061" y="21815"/>
                    <a:pt x="23061" y="24308"/>
                  </a:cubicBezTo>
                  <a:cubicBezTo>
                    <a:pt x="24307" y="30541"/>
                    <a:pt x="25554" y="35527"/>
                    <a:pt x="24307" y="39267"/>
                  </a:cubicBezTo>
                  <a:cubicBezTo>
                    <a:pt x="26801" y="41760"/>
                    <a:pt x="25554" y="43007"/>
                    <a:pt x="24307" y="4300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7" name="任意多边形: 形状 9956">
              <a:extLst>
                <a:ext uri="{FF2B5EF4-FFF2-40B4-BE49-F238E27FC236}">
                  <a16:creationId xmlns:a16="http://schemas.microsoft.com/office/drawing/2014/main" id="{B3299398-8DE9-4F78-A756-B16AD9C4FC20}"/>
                </a:ext>
              </a:extLst>
            </p:cNvPr>
            <p:cNvSpPr/>
            <p:nvPr/>
          </p:nvSpPr>
          <p:spPr>
            <a:xfrm>
              <a:off x="10960186" y="4719512"/>
              <a:ext cx="74794" cy="87260"/>
            </a:xfrm>
            <a:custGeom>
              <a:avLst/>
              <a:gdLst>
                <a:gd name="connsiteX0" fmla="*/ 54225 w 74794"/>
                <a:gd name="connsiteY0" fmla="*/ 10596 h 87259"/>
                <a:gd name="connsiteX1" fmla="*/ 69184 w 74794"/>
                <a:gd name="connsiteY1" fmla="*/ 84143 h 87259"/>
                <a:gd name="connsiteX2" fmla="*/ 30541 w 74794"/>
                <a:gd name="connsiteY2" fmla="*/ 82897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4225" y="10596"/>
                  </a:moveTo>
                  <a:lnTo>
                    <a:pt x="69184" y="84143"/>
                  </a:lnTo>
                  <a:lnTo>
                    <a:pt x="30541" y="82897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8" name="任意多边形: 形状 9957">
              <a:extLst>
                <a:ext uri="{FF2B5EF4-FFF2-40B4-BE49-F238E27FC236}">
                  <a16:creationId xmlns:a16="http://schemas.microsoft.com/office/drawing/2014/main" id="{D389C8D1-F756-4A84-812C-95CDDC3E2CE9}"/>
                </a:ext>
              </a:extLst>
            </p:cNvPr>
            <p:cNvSpPr/>
            <p:nvPr/>
          </p:nvSpPr>
          <p:spPr>
            <a:xfrm>
              <a:off x="10820421" y="4791813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40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40"/>
                  </a:cubicBezTo>
                  <a:lnTo>
                    <a:pt x="9499" y="65445"/>
                  </a:lnTo>
                  <a:cubicBezTo>
                    <a:pt x="9499" y="65445"/>
                    <a:pt x="-1721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9" name="任意多边形: 形状 9958">
              <a:extLst>
                <a:ext uri="{FF2B5EF4-FFF2-40B4-BE49-F238E27FC236}">
                  <a16:creationId xmlns:a16="http://schemas.microsoft.com/office/drawing/2014/main" id="{6FF792F3-1D26-44FF-A8F4-520B431490A6}"/>
                </a:ext>
              </a:extLst>
            </p:cNvPr>
            <p:cNvSpPr/>
            <p:nvPr/>
          </p:nvSpPr>
          <p:spPr>
            <a:xfrm>
              <a:off x="10919049" y="4787762"/>
              <a:ext cx="49863" cy="37397"/>
            </a:xfrm>
            <a:custGeom>
              <a:avLst/>
              <a:gdLst>
                <a:gd name="connsiteX0" fmla="*/ 11842 w 49862"/>
                <a:gd name="connsiteY0" fmla="*/ 9661 h 37397"/>
                <a:gd name="connsiteX1" fmla="*/ 10596 w 49862"/>
                <a:gd name="connsiteY1" fmla="*/ 9661 h 37397"/>
                <a:gd name="connsiteX2" fmla="*/ 11842 w 49862"/>
                <a:gd name="connsiteY2" fmla="*/ 9661 h 37397"/>
                <a:gd name="connsiteX3" fmla="*/ 33034 w 49862"/>
                <a:gd name="connsiteY3" fmla="*/ 17140 h 37397"/>
                <a:gd name="connsiteX4" fmla="*/ 47993 w 49862"/>
                <a:gd name="connsiteY4" fmla="*/ 37085 h 37397"/>
                <a:gd name="connsiteX5" fmla="*/ 29294 w 49862"/>
                <a:gd name="connsiteY5" fmla="*/ 22127 h 37397"/>
                <a:gd name="connsiteX6" fmla="*/ 9349 w 49862"/>
                <a:gd name="connsiteY6" fmla="*/ 10907 h 37397"/>
                <a:gd name="connsiteX7" fmla="*/ 11842 w 49862"/>
                <a:gd name="connsiteY7" fmla="*/ 9661 h 37397"/>
                <a:gd name="connsiteX8" fmla="*/ 11842 w 49862"/>
                <a:gd name="connsiteY8" fmla="*/ 966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2" y="9661"/>
                  </a:moveTo>
                  <a:cubicBezTo>
                    <a:pt x="11842" y="9661"/>
                    <a:pt x="11842" y="9661"/>
                    <a:pt x="10596" y="9661"/>
                  </a:cubicBezTo>
                  <a:lnTo>
                    <a:pt x="11842" y="9661"/>
                  </a:lnTo>
                  <a:cubicBezTo>
                    <a:pt x="14335" y="8414"/>
                    <a:pt x="23061" y="10907"/>
                    <a:pt x="33034" y="17140"/>
                  </a:cubicBezTo>
                  <a:cubicBezTo>
                    <a:pt x="45499" y="24620"/>
                    <a:pt x="49239" y="35839"/>
                    <a:pt x="47993" y="37085"/>
                  </a:cubicBezTo>
                  <a:cubicBezTo>
                    <a:pt x="46746" y="38332"/>
                    <a:pt x="40513" y="28359"/>
                    <a:pt x="29294" y="22127"/>
                  </a:cubicBezTo>
                  <a:cubicBezTo>
                    <a:pt x="20568" y="15894"/>
                    <a:pt x="11842" y="13401"/>
                    <a:pt x="9349" y="10907"/>
                  </a:cubicBezTo>
                  <a:lnTo>
                    <a:pt x="11842" y="9661"/>
                  </a:lnTo>
                  <a:cubicBezTo>
                    <a:pt x="11842" y="9661"/>
                    <a:pt x="11842" y="9661"/>
                    <a:pt x="11842" y="966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0" name="任意多边形: 形状 9959">
              <a:extLst>
                <a:ext uri="{FF2B5EF4-FFF2-40B4-BE49-F238E27FC236}">
                  <a16:creationId xmlns:a16="http://schemas.microsoft.com/office/drawing/2014/main" id="{917BE8DC-71F9-4669-B51D-A55856F39C0A}"/>
                </a:ext>
              </a:extLst>
            </p:cNvPr>
            <p:cNvSpPr/>
            <p:nvPr/>
          </p:nvSpPr>
          <p:spPr>
            <a:xfrm>
              <a:off x="10905337" y="4793655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2 h 37397"/>
                <a:gd name="connsiteX3" fmla="*/ 28048 w 49862"/>
                <a:gd name="connsiteY3" fmla="*/ 18726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500" y="31192"/>
                    <a:pt x="44253" y="31192"/>
                  </a:cubicBezTo>
                  <a:cubicBezTo>
                    <a:pt x="43007" y="32439"/>
                    <a:pt x="38020" y="24959"/>
                    <a:pt x="28048" y="18726"/>
                  </a:cubicBezTo>
                  <a:cubicBezTo>
                    <a:pt x="18075" y="13740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1" name="任意多边形: 形状 9960">
              <a:extLst>
                <a:ext uri="{FF2B5EF4-FFF2-40B4-BE49-F238E27FC236}">
                  <a16:creationId xmlns:a16="http://schemas.microsoft.com/office/drawing/2014/main" id="{6A206D36-D2FD-4DBB-B9DB-A2A8309E278C}"/>
                </a:ext>
              </a:extLst>
            </p:cNvPr>
            <p:cNvSpPr/>
            <p:nvPr/>
          </p:nvSpPr>
          <p:spPr>
            <a:xfrm>
              <a:off x="10890378" y="4798600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1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1"/>
                  </a:cubicBezTo>
                  <a:cubicBezTo>
                    <a:pt x="35528" y="18768"/>
                    <a:pt x="40513" y="26247"/>
                    <a:pt x="39267" y="27494"/>
                  </a:cubicBezTo>
                  <a:cubicBezTo>
                    <a:pt x="38021" y="28740"/>
                    <a:pt x="33034" y="23754"/>
                    <a:pt x="24308" y="18768"/>
                  </a:cubicBezTo>
                  <a:cubicBezTo>
                    <a:pt x="16829" y="13781"/>
                    <a:pt x="9349" y="11289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2" name="任意多边形: 形状 9961">
              <a:extLst>
                <a:ext uri="{FF2B5EF4-FFF2-40B4-BE49-F238E27FC236}">
                  <a16:creationId xmlns:a16="http://schemas.microsoft.com/office/drawing/2014/main" id="{60250844-C6E2-4417-B9ED-B300286A9B76}"/>
                </a:ext>
              </a:extLst>
            </p:cNvPr>
            <p:cNvSpPr/>
            <p:nvPr/>
          </p:nvSpPr>
          <p:spPr>
            <a:xfrm>
              <a:off x="10946473" y="4769375"/>
              <a:ext cx="49863" cy="49863"/>
            </a:xfrm>
            <a:custGeom>
              <a:avLst/>
              <a:gdLst>
                <a:gd name="connsiteX0" fmla="*/ 24308 w 49862"/>
                <a:gd name="connsiteY0" fmla="*/ 43006 h 49862"/>
                <a:gd name="connsiteX1" fmla="*/ 25555 w 49862"/>
                <a:gd name="connsiteY1" fmla="*/ 38020 h 49862"/>
                <a:gd name="connsiteX2" fmla="*/ 23062 w 49862"/>
                <a:gd name="connsiteY2" fmla="*/ 24308 h 49862"/>
                <a:gd name="connsiteX3" fmla="*/ 19322 w 49862"/>
                <a:gd name="connsiteY3" fmla="*/ 15582 h 49862"/>
                <a:gd name="connsiteX4" fmla="*/ 16829 w 49862"/>
                <a:gd name="connsiteY4" fmla="*/ 13089 h 49862"/>
                <a:gd name="connsiteX5" fmla="*/ 16829 w 49862"/>
                <a:gd name="connsiteY5" fmla="*/ 15582 h 49862"/>
                <a:gd name="connsiteX6" fmla="*/ 18075 w 49862"/>
                <a:gd name="connsiteY6" fmla="*/ 28048 h 49862"/>
                <a:gd name="connsiteX7" fmla="*/ 23062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7 w 49862"/>
                <a:gd name="connsiteY11" fmla="*/ 21815 h 49862"/>
                <a:gd name="connsiteX12" fmla="*/ 31788 w 49862"/>
                <a:gd name="connsiteY12" fmla="*/ 28048 h 49862"/>
                <a:gd name="connsiteX13" fmla="*/ 20569 w 49862"/>
                <a:gd name="connsiteY13" fmla="*/ 44253 h 49862"/>
                <a:gd name="connsiteX14" fmla="*/ 29295 w 49862"/>
                <a:gd name="connsiteY14" fmla="*/ 25554 h 49862"/>
                <a:gd name="connsiteX15" fmla="*/ 36774 w 49862"/>
                <a:gd name="connsiteY15" fmla="*/ 18075 h 49862"/>
                <a:gd name="connsiteX16" fmla="*/ 39267 w 49862"/>
                <a:gd name="connsiteY16" fmla="*/ 16828 h 49862"/>
                <a:gd name="connsiteX17" fmla="*/ 44254 w 49862"/>
                <a:gd name="connsiteY17" fmla="*/ 18075 h 49862"/>
                <a:gd name="connsiteX18" fmla="*/ 44254 w 49862"/>
                <a:gd name="connsiteY18" fmla="*/ 25554 h 49862"/>
                <a:gd name="connsiteX19" fmla="*/ 34281 w 49862"/>
                <a:gd name="connsiteY19" fmla="*/ 36774 h 49862"/>
                <a:gd name="connsiteX20" fmla="*/ 20569 w 49862"/>
                <a:gd name="connsiteY20" fmla="*/ 41760 h 49862"/>
                <a:gd name="connsiteX21" fmla="*/ 15582 w 49862"/>
                <a:gd name="connsiteY21" fmla="*/ 39267 h 49862"/>
                <a:gd name="connsiteX22" fmla="*/ 13090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6 w 49862"/>
                <a:gd name="connsiteY25" fmla="*/ 9349 h 49862"/>
                <a:gd name="connsiteX26" fmla="*/ 20569 w 49862"/>
                <a:gd name="connsiteY26" fmla="*/ 14335 h 49862"/>
                <a:gd name="connsiteX27" fmla="*/ 23062 w 49862"/>
                <a:gd name="connsiteY27" fmla="*/ 24308 h 49862"/>
                <a:gd name="connsiteX28" fmla="*/ 24308 w 49862"/>
                <a:gd name="connsiteY28" fmla="*/ 39267 h 49862"/>
                <a:gd name="connsiteX29" fmla="*/ 24308 w 49862"/>
                <a:gd name="connsiteY29" fmla="*/ 4300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8" y="43006"/>
                  </a:moveTo>
                  <a:cubicBezTo>
                    <a:pt x="24308" y="43006"/>
                    <a:pt x="24308" y="40513"/>
                    <a:pt x="25555" y="38020"/>
                  </a:cubicBezTo>
                  <a:cubicBezTo>
                    <a:pt x="25555" y="34281"/>
                    <a:pt x="24308" y="30541"/>
                    <a:pt x="23062" y="24308"/>
                  </a:cubicBezTo>
                  <a:cubicBezTo>
                    <a:pt x="21815" y="21815"/>
                    <a:pt x="20569" y="18075"/>
                    <a:pt x="19322" y="15582"/>
                  </a:cubicBezTo>
                  <a:cubicBezTo>
                    <a:pt x="18075" y="14335"/>
                    <a:pt x="18075" y="13089"/>
                    <a:pt x="16829" y="13089"/>
                  </a:cubicBezTo>
                  <a:cubicBezTo>
                    <a:pt x="16829" y="13089"/>
                    <a:pt x="16829" y="13089"/>
                    <a:pt x="16829" y="15582"/>
                  </a:cubicBezTo>
                  <a:cubicBezTo>
                    <a:pt x="16829" y="19322"/>
                    <a:pt x="16829" y="23061"/>
                    <a:pt x="18075" y="28048"/>
                  </a:cubicBezTo>
                  <a:cubicBezTo>
                    <a:pt x="19322" y="31787"/>
                    <a:pt x="21815" y="38020"/>
                    <a:pt x="23062" y="36774"/>
                  </a:cubicBezTo>
                  <a:cubicBezTo>
                    <a:pt x="29295" y="34281"/>
                    <a:pt x="40513" y="30541"/>
                    <a:pt x="41760" y="24308"/>
                  </a:cubicBezTo>
                  <a:cubicBezTo>
                    <a:pt x="41760" y="23061"/>
                    <a:pt x="41760" y="20568"/>
                    <a:pt x="41760" y="20568"/>
                  </a:cubicBezTo>
                  <a:cubicBezTo>
                    <a:pt x="41760" y="20568"/>
                    <a:pt x="43007" y="20568"/>
                    <a:pt x="41760" y="20568"/>
                  </a:cubicBezTo>
                  <a:lnTo>
                    <a:pt x="39267" y="21815"/>
                  </a:lnTo>
                  <a:cubicBezTo>
                    <a:pt x="36774" y="24308"/>
                    <a:pt x="34281" y="25554"/>
                    <a:pt x="31788" y="28048"/>
                  </a:cubicBezTo>
                  <a:cubicBezTo>
                    <a:pt x="23062" y="36774"/>
                    <a:pt x="20569" y="44253"/>
                    <a:pt x="20569" y="44253"/>
                  </a:cubicBezTo>
                  <a:cubicBezTo>
                    <a:pt x="20569" y="44253"/>
                    <a:pt x="21815" y="35527"/>
                    <a:pt x="29295" y="25554"/>
                  </a:cubicBezTo>
                  <a:cubicBezTo>
                    <a:pt x="31788" y="23061"/>
                    <a:pt x="34281" y="20568"/>
                    <a:pt x="36774" y="18075"/>
                  </a:cubicBezTo>
                  <a:lnTo>
                    <a:pt x="39267" y="16828"/>
                  </a:lnTo>
                  <a:cubicBezTo>
                    <a:pt x="39267" y="15582"/>
                    <a:pt x="44254" y="15582"/>
                    <a:pt x="44254" y="18075"/>
                  </a:cubicBezTo>
                  <a:cubicBezTo>
                    <a:pt x="45500" y="21815"/>
                    <a:pt x="45500" y="23061"/>
                    <a:pt x="44254" y="25554"/>
                  </a:cubicBezTo>
                  <a:cubicBezTo>
                    <a:pt x="43007" y="30541"/>
                    <a:pt x="39267" y="34281"/>
                    <a:pt x="34281" y="36774"/>
                  </a:cubicBezTo>
                  <a:cubicBezTo>
                    <a:pt x="29295" y="39267"/>
                    <a:pt x="26802" y="40513"/>
                    <a:pt x="20569" y="41760"/>
                  </a:cubicBezTo>
                  <a:cubicBezTo>
                    <a:pt x="19322" y="41760"/>
                    <a:pt x="16829" y="40513"/>
                    <a:pt x="15582" y="39267"/>
                  </a:cubicBezTo>
                  <a:cubicBezTo>
                    <a:pt x="14336" y="38020"/>
                    <a:pt x="14336" y="36774"/>
                    <a:pt x="13090" y="35527"/>
                  </a:cubicBezTo>
                  <a:cubicBezTo>
                    <a:pt x="11843" y="33034"/>
                    <a:pt x="11843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6" y="9349"/>
                  </a:cubicBezTo>
                  <a:cubicBezTo>
                    <a:pt x="18075" y="9349"/>
                    <a:pt x="19322" y="11842"/>
                    <a:pt x="20569" y="14335"/>
                  </a:cubicBezTo>
                  <a:cubicBezTo>
                    <a:pt x="21815" y="18075"/>
                    <a:pt x="23062" y="21815"/>
                    <a:pt x="23062" y="24308"/>
                  </a:cubicBezTo>
                  <a:cubicBezTo>
                    <a:pt x="24308" y="30541"/>
                    <a:pt x="25555" y="35527"/>
                    <a:pt x="24308" y="39267"/>
                  </a:cubicBezTo>
                  <a:cubicBezTo>
                    <a:pt x="25555" y="41760"/>
                    <a:pt x="24308" y="43006"/>
                    <a:pt x="24308" y="4300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3" name="任意多边形: 形状 9962">
              <a:extLst>
                <a:ext uri="{FF2B5EF4-FFF2-40B4-BE49-F238E27FC236}">
                  <a16:creationId xmlns:a16="http://schemas.microsoft.com/office/drawing/2014/main" id="{83CC4EC8-D7B2-40FB-8056-2297C9443C5F}"/>
                </a:ext>
              </a:extLst>
            </p:cNvPr>
            <p:cNvSpPr/>
            <p:nvPr/>
          </p:nvSpPr>
          <p:spPr>
            <a:xfrm>
              <a:off x="10699653" y="3093723"/>
              <a:ext cx="448765" cy="648215"/>
            </a:xfrm>
            <a:custGeom>
              <a:avLst/>
              <a:gdLst>
                <a:gd name="connsiteX0" fmla="*/ 172650 w 448764"/>
                <a:gd name="connsiteY0" fmla="*/ 12107 h 648215"/>
                <a:gd name="connsiteX1" fmla="*/ 398279 w 448764"/>
                <a:gd name="connsiteY1" fmla="*/ 262667 h 648215"/>
                <a:gd name="connsiteX2" fmla="*/ 425703 w 448764"/>
                <a:gd name="connsiteY2" fmla="*/ 642870 h 648215"/>
                <a:gd name="connsiteX3" fmla="*/ 44253 w 448764"/>
                <a:gd name="connsiteY3" fmla="*/ 595501 h 648215"/>
                <a:gd name="connsiteX4" fmla="*/ 81650 w 448764"/>
                <a:gd name="connsiteY4" fmla="*/ 343694 h 648215"/>
                <a:gd name="connsiteX5" fmla="*/ 9349 w 448764"/>
                <a:gd name="connsiteY5" fmla="*/ 65709 h 648215"/>
                <a:gd name="connsiteX6" fmla="*/ 172650 w 448764"/>
                <a:gd name="connsiteY6" fmla="*/ 12107 h 64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764" h="648215">
                  <a:moveTo>
                    <a:pt x="172650" y="12107"/>
                  </a:moveTo>
                  <a:cubicBezTo>
                    <a:pt x="172650" y="12107"/>
                    <a:pt x="324731" y="-35263"/>
                    <a:pt x="398279" y="262667"/>
                  </a:cubicBezTo>
                  <a:cubicBezTo>
                    <a:pt x="471827" y="559350"/>
                    <a:pt x="425703" y="642870"/>
                    <a:pt x="425703" y="642870"/>
                  </a:cubicBezTo>
                  <a:lnTo>
                    <a:pt x="44253" y="595501"/>
                  </a:lnTo>
                  <a:cubicBezTo>
                    <a:pt x="44253" y="595501"/>
                    <a:pt x="96609" y="439679"/>
                    <a:pt x="81650" y="343694"/>
                  </a:cubicBezTo>
                  <a:cubicBezTo>
                    <a:pt x="66692" y="247708"/>
                    <a:pt x="9349" y="65709"/>
                    <a:pt x="9349" y="65709"/>
                  </a:cubicBezTo>
                  <a:cubicBezTo>
                    <a:pt x="9349" y="65709"/>
                    <a:pt x="92869" y="888"/>
                    <a:pt x="172650" y="12107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4" name="任意多边形: 形状 9963">
              <a:extLst>
                <a:ext uri="{FF2B5EF4-FFF2-40B4-BE49-F238E27FC236}">
                  <a16:creationId xmlns:a16="http://schemas.microsoft.com/office/drawing/2014/main" id="{713B02DD-A7A2-4250-8DC3-1667AC565268}"/>
                </a:ext>
              </a:extLst>
            </p:cNvPr>
            <p:cNvSpPr/>
            <p:nvPr/>
          </p:nvSpPr>
          <p:spPr>
            <a:xfrm>
              <a:off x="10354353" y="3126398"/>
              <a:ext cx="511093" cy="311642"/>
            </a:xfrm>
            <a:custGeom>
              <a:avLst/>
              <a:gdLst>
                <a:gd name="connsiteX0" fmla="*/ 9349 w 511093"/>
                <a:gd name="connsiteY0" fmla="*/ 35527 h 311642"/>
                <a:gd name="connsiteX1" fmla="*/ 227499 w 511093"/>
                <a:gd name="connsiteY1" fmla="*/ 298553 h 311642"/>
                <a:gd name="connsiteX2" fmla="*/ 507977 w 511093"/>
                <a:gd name="connsiteY2" fmla="*/ 106582 h 311642"/>
                <a:gd name="connsiteX3" fmla="*/ 372101 w 511093"/>
                <a:gd name="connsiteY3" fmla="*/ 9349 h 311642"/>
                <a:gd name="connsiteX4" fmla="*/ 185116 w 511093"/>
                <a:gd name="connsiteY4" fmla="*/ 165170 h 311642"/>
                <a:gd name="connsiteX5" fmla="*/ 71678 w 511093"/>
                <a:gd name="connsiteY5" fmla="*/ 30541 h 311642"/>
                <a:gd name="connsiteX6" fmla="*/ 9349 w 511093"/>
                <a:gd name="connsiteY6" fmla="*/ 35527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093" h="311642">
                  <a:moveTo>
                    <a:pt x="9349" y="35527"/>
                  </a:moveTo>
                  <a:cubicBezTo>
                    <a:pt x="9349" y="35527"/>
                    <a:pt x="105335" y="363375"/>
                    <a:pt x="227499" y="298553"/>
                  </a:cubicBezTo>
                  <a:cubicBezTo>
                    <a:pt x="349663" y="233732"/>
                    <a:pt x="507977" y="106582"/>
                    <a:pt x="507977" y="106582"/>
                  </a:cubicBezTo>
                  <a:lnTo>
                    <a:pt x="372101" y="9349"/>
                  </a:lnTo>
                  <a:cubicBezTo>
                    <a:pt x="372101" y="9349"/>
                    <a:pt x="220020" y="193842"/>
                    <a:pt x="185116" y="165170"/>
                  </a:cubicBezTo>
                  <a:cubicBezTo>
                    <a:pt x="151458" y="136499"/>
                    <a:pt x="71678" y="30541"/>
                    <a:pt x="71678" y="30541"/>
                  </a:cubicBezTo>
                  <a:lnTo>
                    <a:pt x="9349" y="35527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5" name="任意多边形: 形状 9964">
              <a:extLst>
                <a:ext uri="{FF2B5EF4-FFF2-40B4-BE49-F238E27FC236}">
                  <a16:creationId xmlns:a16="http://schemas.microsoft.com/office/drawing/2014/main" id="{6C9C9832-F30B-47CB-B29E-99F2B4A8F43C}"/>
                </a:ext>
              </a:extLst>
            </p:cNvPr>
            <p:cNvSpPr/>
            <p:nvPr/>
          </p:nvSpPr>
          <p:spPr>
            <a:xfrm>
              <a:off x="10581229" y="3126398"/>
              <a:ext cx="199451" cy="299176"/>
            </a:xfrm>
            <a:custGeom>
              <a:avLst/>
              <a:gdLst>
                <a:gd name="connsiteX0" fmla="*/ 145226 w 199450"/>
                <a:gd name="connsiteY0" fmla="*/ 9349 h 299176"/>
                <a:gd name="connsiteX1" fmla="*/ 9349 w 199450"/>
                <a:gd name="connsiteY1" fmla="*/ 294813 h 299176"/>
                <a:gd name="connsiteX2" fmla="*/ 191349 w 199450"/>
                <a:gd name="connsiteY2" fmla="*/ 173896 h 299176"/>
                <a:gd name="connsiteX3" fmla="*/ 183869 w 199450"/>
                <a:gd name="connsiteY3" fmla="*/ 30541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50" h="299176">
                  <a:moveTo>
                    <a:pt x="145226" y="9349"/>
                  </a:moveTo>
                  <a:lnTo>
                    <a:pt x="9349" y="294813"/>
                  </a:lnTo>
                  <a:lnTo>
                    <a:pt x="191349" y="173896"/>
                  </a:lnTo>
                  <a:lnTo>
                    <a:pt x="183869" y="30541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6" name="任意多边形: 形状 9965">
              <a:extLst>
                <a:ext uri="{FF2B5EF4-FFF2-40B4-BE49-F238E27FC236}">
                  <a16:creationId xmlns:a16="http://schemas.microsoft.com/office/drawing/2014/main" id="{6F9AE010-A912-4346-8D9B-DA950B058A14}"/>
                </a:ext>
              </a:extLst>
            </p:cNvPr>
            <p:cNvSpPr/>
            <p:nvPr/>
          </p:nvSpPr>
          <p:spPr>
            <a:xfrm>
              <a:off x="10470068" y="3646217"/>
              <a:ext cx="660681" cy="1146843"/>
            </a:xfrm>
            <a:custGeom>
              <a:avLst/>
              <a:gdLst>
                <a:gd name="connsiteX0" fmla="*/ 339907 w 660681"/>
                <a:gd name="connsiteY0" fmla="*/ 9349 h 1146842"/>
                <a:gd name="connsiteX1" fmla="*/ 10812 w 660681"/>
                <a:gd name="connsiteY1" fmla="*/ 463100 h 1146842"/>
                <a:gd name="connsiteX2" fmla="*/ 258880 w 660681"/>
                <a:gd name="connsiteY2" fmla="*/ 1144973 h 1146842"/>
                <a:gd name="connsiteX3" fmla="*/ 326194 w 660681"/>
                <a:gd name="connsiteY3" fmla="*/ 1139987 h 1146842"/>
                <a:gd name="connsiteX4" fmla="*/ 194058 w 660681"/>
                <a:gd name="connsiteY4" fmla="*/ 516702 h 1146842"/>
                <a:gd name="connsiteX5" fmla="*/ 358605 w 660681"/>
                <a:gd name="connsiteY5" fmla="*/ 269882 h 1146842"/>
                <a:gd name="connsiteX6" fmla="*/ 295030 w 660681"/>
                <a:gd name="connsiteY6" fmla="*/ 652579 h 1146842"/>
                <a:gd name="connsiteX7" fmla="*/ 491987 w 660681"/>
                <a:gd name="connsiteY7" fmla="*/ 1100097 h 1146842"/>
                <a:gd name="connsiteX8" fmla="*/ 555563 w 660681"/>
                <a:gd name="connsiteY8" fmla="*/ 1095110 h 1146842"/>
                <a:gd name="connsiteX9" fmla="*/ 467056 w 660681"/>
                <a:gd name="connsiteY9" fmla="*/ 488031 h 1146842"/>
                <a:gd name="connsiteX10" fmla="*/ 660274 w 660681"/>
                <a:gd name="connsiteY10" fmla="*/ 89130 h 1146842"/>
                <a:gd name="connsiteX11" fmla="*/ 339907 w 660681"/>
                <a:gd name="connsiteY11" fmla="*/ 9349 h 1146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0681" h="1146842">
                  <a:moveTo>
                    <a:pt x="339907" y="9349"/>
                  </a:moveTo>
                  <a:cubicBezTo>
                    <a:pt x="339907" y="9349"/>
                    <a:pt x="34497" y="357142"/>
                    <a:pt x="10812" y="463100"/>
                  </a:cubicBezTo>
                  <a:cubicBezTo>
                    <a:pt x="-12873" y="567812"/>
                    <a:pt x="258880" y="1144973"/>
                    <a:pt x="258880" y="1144973"/>
                  </a:cubicBezTo>
                  <a:lnTo>
                    <a:pt x="326194" y="1139987"/>
                  </a:lnTo>
                  <a:cubicBezTo>
                    <a:pt x="326194" y="1139987"/>
                    <a:pt x="179099" y="581524"/>
                    <a:pt x="194058" y="516702"/>
                  </a:cubicBezTo>
                  <a:cubicBezTo>
                    <a:pt x="209017" y="451881"/>
                    <a:pt x="358605" y="269882"/>
                    <a:pt x="358605" y="269882"/>
                  </a:cubicBezTo>
                  <a:cubicBezTo>
                    <a:pt x="358605" y="269882"/>
                    <a:pt x="256386" y="468086"/>
                    <a:pt x="295030" y="652579"/>
                  </a:cubicBezTo>
                  <a:cubicBezTo>
                    <a:pt x="337413" y="854522"/>
                    <a:pt x="491987" y="1100097"/>
                    <a:pt x="491987" y="1100097"/>
                  </a:cubicBezTo>
                  <a:lnTo>
                    <a:pt x="555563" y="1095110"/>
                  </a:lnTo>
                  <a:cubicBezTo>
                    <a:pt x="555563" y="1095110"/>
                    <a:pt x="408468" y="596483"/>
                    <a:pt x="467056" y="488031"/>
                  </a:cubicBezTo>
                  <a:cubicBezTo>
                    <a:pt x="528138" y="373347"/>
                    <a:pt x="660274" y="89130"/>
                    <a:pt x="660274" y="89130"/>
                  </a:cubicBezTo>
                  <a:lnTo>
                    <a:pt x="339907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7" name="任意多边形: 形状 9966">
              <a:extLst>
                <a:ext uri="{FF2B5EF4-FFF2-40B4-BE49-F238E27FC236}">
                  <a16:creationId xmlns:a16="http://schemas.microsoft.com/office/drawing/2014/main" id="{621DCA53-CCA9-4A11-B3DD-4002973EF126}"/>
                </a:ext>
              </a:extLst>
            </p:cNvPr>
            <p:cNvSpPr/>
            <p:nvPr/>
          </p:nvSpPr>
          <p:spPr>
            <a:xfrm>
              <a:off x="10816752" y="3739710"/>
              <a:ext cx="174520" cy="959858"/>
            </a:xfrm>
            <a:custGeom>
              <a:avLst/>
              <a:gdLst>
                <a:gd name="connsiteX0" fmla="*/ 172728 w 174519"/>
                <a:gd name="connsiteY0" fmla="*/ 9349 h 959857"/>
                <a:gd name="connsiteX1" fmla="*/ 170235 w 174519"/>
                <a:gd name="connsiteY1" fmla="*/ 19322 h 959857"/>
                <a:gd name="connsiteX2" fmla="*/ 160263 w 174519"/>
                <a:gd name="connsiteY2" fmla="*/ 46746 h 959857"/>
                <a:gd name="connsiteX3" fmla="*/ 122866 w 174519"/>
                <a:gd name="connsiteY3" fmla="*/ 147718 h 959857"/>
                <a:gd name="connsiteX4" fmla="*/ 68017 w 174519"/>
                <a:gd name="connsiteY4" fmla="*/ 296060 h 959857"/>
                <a:gd name="connsiteX5" fmla="*/ 35606 w 174519"/>
                <a:gd name="connsiteY5" fmla="*/ 383320 h 959857"/>
                <a:gd name="connsiteX6" fmla="*/ 21894 w 174519"/>
                <a:gd name="connsiteY6" fmla="*/ 430689 h 959857"/>
                <a:gd name="connsiteX7" fmla="*/ 15661 w 174519"/>
                <a:gd name="connsiteY7" fmla="*/ 480552 h 959857"/>
                <a:gd name="connsiteX8" fmla="*/ 43086 w 174519"/>
                <a:gd name="connsiteY8" fmla="*/ 671277 h 959857"/>
                <a:gd name="connsiteX9" fmla="*/ 94195 w 174519"/>
                <a:gd name="connsiteY9" fmla="*/ 820865 h 959857"/>
                <a:gd name="connsiteX10" fmla="*/ 136578 w 174519"/>
                <a:gd name="connsiteY10" fmla="*/ 919344 h 959857"/>
                <a:gd name="connsiteX11" fmla="*/ 149044 w 174519"/>
                <a:gd name="connsiteY11" fmla="*/ 945522 h 959857"/>
                <a:gd name="connsiteX12" fmla="*/ 152784 w 174519"/>
                <a:gd name="connsiteY12" fmla="*/ 954248 h 959857"/>
                <a:gd name="connsiteX13" fmla="*/ 147797 w 174519"/>
                <a:gd name="connsiteY13" fmla="*/ 945522 h 959857"/>
                <a:gd name="connsiteX14" fmla="*/ 134085 w 174519"/>
                <a:gd name="connsiteY14" fmla="*/ 919344 h 959857"/>
                <a:gd name="connsiteX15" fmla="*/ 90455 w 174519"/>
                <a:gd name="connsiteY15" fmla="*/ 822112 h 959857"/>
                <a:gd name="connsiteX16" fmla="*/ 38099 w 174519"/>
                <a:gd name="connsiteY16" fmla="*/ 672523 h 959857"/>
                <a:gd name="connsiteX17" fmla="*/ 9428 w 174519"/>
                <a:gd name="connsiteY17" fmla="*/ 480552 h 959857"/>
                <a:gd name="connsiteX18" fmla="*/ 15661 w 174519"/>
                <a:gd name="connsiteY18" fmla="*/ 429443 h 959857"/>
                <a:gd name="connsiteX19" fmla="*/ 30620 w 174519"/>
                <a:gd name="connsiteY19" fmla="*/ 382073 h 959857"/>
                <a:gd name="connsiteX20" fmla="*/ 64277 w 174519"/>
                <a:gd name="connsiteY20" fmla="*/ 294813 h 959857"/>
                <a:gd name="connsiteX21" fmla="*/ 120372 w 174519"/>
                <a:gd name="connsiteY21" fmla="*/ 146472 h 959857"/>
                <a:gd name="connsiteX22" fmla="*/ 159016 w 174519"/>
                <a:gd name="connsiteY22" fmla="*/ 46746 h 959857"/>
                <a:gd name="connsiteX23" fmla="*/ 170235 w 174519"/>
                <a:gd name="connsiteY23" fmla="*/ 19322 h 959857"/>
                <a:gd name="connsiteX24" fmla="*/ 172728 w 174519"/>
                <a:gd name="connsiteY24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4519" h="959857">
                  <a:moveTo>
                    <a:pt x="172728" y="9349"/>
                  </a:moveTo>
                  <a:cubicBezTo>
                    <a:pt x="172728" y="9349"/>
                    <a:pt x="171482" y="13089"/>
                    <a:pt x="170235" y="19322"/>
                  </a:cubicBezTo>
                  <a:cubicBezTo>
                    <a:pt x="167742" y="26801"/>
                    <a:pt x="164002" y="35527"/>
                    <a:pt x="160263" y="46746"/>
                  </a:cubicBezTo>
                  <a:cubicBezTo>
                    <a:pt x="150290" y="72924"/>
                    <a:pt x="137825" y="106581"/>
                    <a:pt x="122866" y="147718"/>
                  </a:cubicBezTo>
                  <a:cubicBezTo>
                    <a:pt x="106660" y="191348"/>
                    <a:pt x="87962" y="241211"/>
                    <a:pt x="68017" y="296060"/>
                  </a:cubicBezTo>
                  <a:cubicBezTo>
                    <a:pt x="58044" y="324731"/>
                    <a:pt x="46825" y="353402"/>
                    <a:pt x="35606" y="383320"/>
                  </a:cubicBezTo>
                  <a:cubicBezTo>
                    <a:pt x="29373" y="398278"/>
                    <a:pt x="25633" y="414484"/>
                    <a:pt x="21894" y="430689"/>
                  </a:cubicBezTo>
                  <a:cubicBezTo>
                    <a:pt x="19401" y="446895"/>
                    <a:pt x="16907" y="464347"/>
                    <a:pt x="15661" y="480552"/>
                  </a:cubicBezTo>
                  <a:cubicBezTo>
                    <a:pt x="14414" y="549113"/>
                    <a:pt x="28127" y="613935"/>
                    <a:pt x="43086" y="671277"/>
                  </a:cubicBezTo>
                  <a:cubicBezTo>
                    <a:pt x="59291" y="728619"/>
                    <a:pt x="76742" y="779728"/>
                    <a:pt x="94195" y="820865"/>
                  </a:cubicBezTo>
                  <a:cubicBezTo>
                    <a:pt x="110400" y="863249"/>
                    <a:pt x="125359" y="895659"/>
                    <a:pt x="136578" y="919344"/>
                  </a:cubicBezTo>
                  <a:cubicBezTo>
                    <a:pt x="141564" y="929317"/>
                    <a:pt x="145304" y="938043"/>
                    <a:pt x="149044" y="945522"/>
                  </a:cubicBezTo>
                  <a:cubicBezTo>
                    <a:pt x="151536" y="951755"/>
                    <a:pt x="152784" y="954248"/>
                    <a:pt x="152784" y="954248"/>
                  </a:cubicBezTo>
                  <a:cubicBezTo>
                    <a:pt x="152784" y="954248"/>
                    <a:pt x="150290" y="951755"/>
                    <a:pt x="147797" y="945522"/>
                  </a:cubicBezTo>
                  <a:cubicBezTo>
                    <a:pt x="144057" y="938043"/>
                    <a:pt x="140318" y="929317"/>
                    <a:pt x="134085" y="919344"/>
                  </a:cubicBezTo>
                  <a:cubicBezTo>
                    <a:pt x="122866" y="896906"/>
                    <a:pt x="107907" y="863249"/>
                    <a:pt x="90455" y="822112"/>
                  </a:cubicBezTo>
                  <a:cubicBezTo>
                    <a:pt x="73003" y="779728"/>
                    <a:pt x="54304" y="729866"/>
                    <a:pt x="38099" y="672523"/>
                  </a:cubicBezTo>
                  <a:cubicBezTo>
                    <a:pt x="21894" y="615182"/>
                    <a:pt x="8181" y="549113"/>
                    <a:pt x="9428" y="480552"/>
                  </a:cubicBezTo>
                  <a:cubicBezTo>
                    <a:pt x="10674" y="463100"/>
                    <a:pt x="11921" y="445648"/>
                    <a:pt x="15661" y="429443"/>
                  </a:cubicBezTo>
                  <a:cubicBezTo>
                    <a:pt x="20647" y="413237"/>
                    <a:pt x="23140" y="397032"/>
                    <a:pt x="30620" y="382073"/>
                  </a:cubicBezTo>
                  <a:cubicBezTo>
                    <a:pt x="41839" y="352156"/>
                    <a:pt x="53058" y="322238"/>
                    <a:pt x="64277" y="294813"/>
                  </a:cubicBezTo>
                  <a:cubicBezTo>
                    <a:pt x="85469" y="239964"/>
                    <a:pt x="104167" y="188855"/>
                    <a:pt x="120372" y="146472"/>
                  </a:cubicBezTo>
                  <a:cubicBezTo>
                    <a:pt x="136578" y="105335"/>
                    <a:pt x="149044" y="71678"/>
                    <a:pt x="159016" y="46746"/>
                  </a:cubicBezTo>
                  <a:cubicBezTo>
                    <a:pt x="162756" y="36774"/>
                    <a:pt x="166495" y="26801"/>
                    <a:pt x="170235" y="19322"/>
                  </a:cubicBezTo>
                  <a:cubicBezTo>
                    <a:pt x="170235" y="11842"/>
                    <a:pt x="172728" y="9349"/>
                    <a:pt x="17272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8" name="任意多边形: 形状 9967">
              <a:extLst>
                <a:ext uri="{FF2B5EF4-FFF2-40B4-BE49-F238E27FC236}">
                  <a16:creationId xmlns:a16="http://schemas.microsoft.com/office/drawing/2014/main" id="{951801C7-75B5-4EDC-9DF7-627F2E4079BE}"/>
                </a:ext>
              </a:extLst>
            </p:cNvPr>
            <p:cNvSpPr/>
            <p:nvPr/>
          </p:nvSpPr>
          <p:spPr>
            <a:xfrm>
              <a:off x="10545954" y="3749682"/>
              <a:ext cx="286711" cy="1022186"/>
            </a:xfrm>
            <a:custGeom>
              <a:avLst/>
              <a:gdLst>
                <a:gd name="connsiteX0" fmla="*/ 280226 w 286710"/>
                <a:gd name="connsiteY0" fmla="*/ 9349 h 1022185"/>
                <a:gd name="connsiteX1" fmla="*/ 272746 w 286710"/>
                <a:gd name="connsiteY1" fmla="*/ 18075 h 1022185"/>
                <a:gd name="connsiteX2" fmla="*/ 250308 w 286710"/>
                <a:gd name="connsiteY2" fmla="*/ 43007 h 1022185"/>
                <a:gd name="connsiteX3" fmla="*/ 170528 w 286710"/>
                <a:gd name="connsiteY3" fmla="*/ 135253 h 1022185"/>
                <a:gd name="connsiteX4" fmla="*/ 59583 w 286710"/>
                <a:gd name="connsiteY4" fmla="*/ 277361 h 1022185"/>
                <a:gd name="connsiteX5" fmla="*/ 32158 w 286710"/>
                <a:gd name="connsiteY5" fmla="*/ 320991 h 1022185"/>
                <a:gd name="connsiteX6" fmla="*/ 13460 w 286710"/>
                <a:gd name="connsiteY6" fmla="*/ 370854 h 1022185"/>
                <a:gd name="connsiteX7" fmla="*/ 18447 w 286710"/>
                <a:gd name="connsiteY7" fmla="*/ 484292 h 1022185"/>
                <a:gd name="connsiteX8" fmla="*/ 78282 w 286710"/>
                <a:gd name="connsiteY8" fmla="*/ 696208 h 1022185"/>
                <a:gd name="connsiteX9" fmla="*/ 143103 w 286710"/>
                <a:gd name="connsiteY9" fmla="*/ 864495 h 1022185"/>
                <a:gd name="connsiteX10" fmla="*/ 190473 w 286710"/>
                <a:gd name="connsiteY10" fmla="*/ 976686 h 1022185"/>
                <a:gd name="connsiteX11" fmla="*/ 204185 w 286710"/>
                <a:gd name="connsiteY11" fmla="*/ 1006604 h 1022185"/>
                <a:gd name="connsiteX12" fmla="*/ 209171 w 286710"/>
                <a:gd name="connsiteY12" fmla="*/ 1017823 h 1022185"/>
                <a:gd name="connsiteX13" fmla="*/ 204185 w 286710"/>
                <a:gd name="connsiteY13" fmla="*/ 1007851 h 1022185"/>
                <a:gd name="connsiteX14" fmla="*/ 190473 w 286710"/>
                <a:gd name="connsiteY14" fmla="*/ 977933 h 1022185"/>
                <a:gd name="connsiteX15" fmla="*/ 141856 w 286710"/>
                <a:gd name="connsiteY15" fmla="*/ 866988 h 1022185"/>
                <a:gd name="connsiteX16" fmla="*/ 77035 w 286710"/>
                <a:gd name="connsiteY16" fmla="*/ 698702 h 1022185"/>
                <a:gd name="connsiteX17" fmla="*/ 17199 w 286710"/>
                <a:gd name="connsiteY17" fmla="*/ 485539 h 1022185"/>
                <a:gd name="connsiteX18" fmla="*/ 12214 w 286710"/>
                <a:gd name="connsiteY18" fmla="*/ 370854 h 1022185"/>
                <a:gd name="connsiteX19" fmla="*/ 32158 w 286710"/>
                <a:gd name="connsiteY19" fmla="*/ 319745 h 1022185"/>
                <a:gd name="connsiteX20" fmla="*/ 59583 w 286710"/>
                <a:gd name="connsiteY20" fmla="*/ 274869 h 1022185"/>
                <a:gd name="connsiteX21" fmla="*/ 171774 w 286710"/>
                <a:gd name="connsiteY21" fmla="*/ 132759 h 1022185"/>
                <a:gd name="connsiteX22" fmla="*/ 252801 w 286710"/>
                <a:gd name="connsiteY22" fmla="*/ 41760 h 1022185"/>
                <a:gd name="connsiteX23" fmla="*/ 275239 w 286710"/>
                <a:gd name="connsiteY23" fmla="*/ 18075 h 1022185"/>
                <a:gd name="connsiteX24" fmla="*/ 280226 w 286710"/>
                <a:gd name="connsiteY24" fmla="*/ 9349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6710" h="1022185">
                  <a:moveTo>
                    <a:pt x="280226" y="9349"/>
                  </a:moveTo>
                  <a:cubicBezTo>
                    <a:pt x="280226" y="9349"/>
                    <a:pt x="277733" y="13089"/>
                    <a:pt x="272746" y="18075"/>
                  </a:cubicBezTo>
                  <a:cubicBezTo>
                    <a:pt x="266513" y="24308"/>
                    <a:pt x="259034" y="33034"/>
                    <a:pt x="250308" y="43007"/>
                  </a:cubicBezTo>
                  <a:cubicBezTo>
                    <a:pt x="231609" y="64198"/>
                    <a:pt x="202938" y="95362"/>
                    <a:pt x="170528" y="135253"/>
                  </a:cubicBezTo>
                  <a:cubicBezTo>
                    <a:pt x="136871" y="175143"/>
                    <a:pt x="98226" y="221266"/>
                    <a:pt x="59583" y="277361"/>
                  </a:cubicBezTo>
                  <a:cubicBezTo>
                    <a:pt x="50857" y="291074"/>
                    <a:pt x="40885" y="306033"/>
                    <a:pt x="32158" y="320991"/>
                  </a:cubicBezTo>
                  <a:cubicBezTo>
                    <a:pt x="23432" y="335950"/>
                    <a:pt x="15953" y="352156"/>
                    <a:pt x="13460" y="370854"/>
                  </a:cubicBezTo>
                  <a:cubicBezTo>
                    <a:pt x="7227" y="407004"/>
                    <a:pt x="12214" y="445648"/>
                    <a:pt x="18447" y="484292"/>
                  </a:cubicBezTo>
                  <a:cubicBezTo>
                    <a:pt x="32158" y="561579"/>
                    <a:pt x="55844" y="632633"/>
                    <a:pt x="78282" y="696208"/>
                  </a:cubicBezTo>
                  <a:cubicBezTo>
                    <a:pt x="100720" y="759784"/>
                    <a:pt x="123158" y="817126"/>
                    <a:pt x="143103" y="864495"/>
                  </a:cubicBezTo>
                  <a:cubicBezTo>
                    <a:pt x="163048" y="911865"/>
                    <a:pt x="179253" y="950508"/>
                    <a:pt x="190473" y="976686"/>
                  </a:cubicBezTo>
                  <a:cubicBezTo>
                    <a:pt x="195459" y="989152"/>
                    <a:pt x="200445" y="999124"/>
                    <a:pt x="204185" y="1006604"/>
                  </a:cubicBezTo>
                  <a:cubicBezTo>
                    <a:pt x="206678" y="1014083"/>
                    <a:pt x="209171" y="1017823"/>
                    <a:pt x="209171" y="1017823"/>
                  </a:cubicBezTo>
                  <a:cubicBezTo>
                    <a:pt x="209171" y="1017823"/>
                    <a:pt x="206678" y="1014083"/>
                    <a:pt x="204185" y="1007851"/>
                  </a:cubicBezTo>
                  <a:cubicBezTo>
                    <a:pt x="200445" y="999124"/>
                    <a:pt x="195459" y="990399"/>
                    <a:pt x="190473" y="977933"/>
                  </a:cubicBezTo>
                  <a:cubicBezTo>
                    <a:pt x="178007" y="951755"/>
                    <a:pt x="161802" y="914358"/>
                    <a:pt x="141856" y="866988"/>
                  </a:cubicBezTo>
                  <a:cubicBezTo>
                    <a:pt x="121912" y="819619"/>
                    <a:pt x="99473" y="762276"/>
                    <a:pt x="77035" y="698702"/>
                  </a:cubicBezTo>
                  <a:cubicBezTo>
                    <a:pt x="54597" y="635127"/>
                    <a:pt x="30912" y="562826"/>
                    <a:pt x="17199" y="485539"/>
                  </a:cubicBezTo>
                  <a:cubicBezTo>
                    <a:pt x="10967" y="446895"/>
                    <a:pt x="5981" y="408251"/>
                    <a:pt x="12214" y="370854"/>
                  </a:cubicBezTo>
                  <a:cubicBezTo>
                    <a:pt x="14707" y="352156"/>
                    <a:pt x="23432" y="334704"/>
                    <a:pt x="32158" y="319745"/>
                  </a:cubicBezTo>
                  <a:cubicBezTo>
                    <a:pt x="40885" y="303539"/>
                    <a:pt x="50857" y="289827"/>
                    <a:pt x="59583" y="274869"/>
                  </a:cubicBezTo>
                  <a:cubicBezTo>
                    <a:pt x="98226" y="218773"/>
                    <a:pt x="138117" y="171403"/>
                    <a:pt x="171774" y="132759"/>
                  </a:cubicBezTo>
                  <a:cubicBezTo>
                    <a:pt x="205432" y="94116"/>
                    <a:pt x="232856" y="62952"/>
                    <a:pt x="252801" y="41760"/>
                  </a:cubicBezTo>
                  <a:cubicBezTo>
                    <a:pt x="261527" y="31788"/>
                    <a:pt x="269006" y="24308"/>
                    <a:pt x="275239" y="18075"/>
                  </a:cubicBezTo>
                  <a:cubicBezTo>
                    <a:pt x="276486" y="11843"/>
                    <a:pt x="280226" y="9349"/>
                    <a:pt x="28022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9" name="任意多边形: 形状 9968">
              <a:extLst>
                <a:ext uri="{FF2B5EF4-FFF2-40B4-BE49-F238E27FC236}">
                  <a16:creationId xmlns:a16="http://schemas.microsoft.com/office/drawing/2014/main" id="{1C0ADDE7-2E86-4500-A37D-0E041E36A6DC}"/>
                </a:ext>
              </a:extLst>
            </p:cNvPr>
            <p:cNvSpPr/>
            <p:nvPr/>
          </p:nvSpPr>
          <p:spPr>
            <a:xfrm>
              <a:off x="10707133" y="4755974"/>
              <a:ext cx="87260" cy="24931"/>
            </a:xfrm>
            <a:custGeom>
              <a:avLst/>
              <a:gdLst>
                <a:gd name="connsiteX0" fmla="*/ 81650 w 87259"/>
                <a:gd name="connsiteY0" fmla="*/ 10284 h 24931"/>
                <a:gd name="connsiteX1" fmla="*/ 45499 w 87259"/>
                <a:gd name="connsiteY1" fmla="*/ 15270 h 24931"/>
                <a:gd name="connsiteX2" fmla="*/ 9349 w 87259"/>
                <a:gd name="connsiteY2" fmla="*/ 15270 h 24931"/>
                <a:gd name="connsiteX3" fmla="*/ 45499 w 87259"/>
                <a:gd name="connsiteY3" fmla="*/ 10284 h 24931"/>
                <a:gd name="connsiteX4" fmla="*/ 81650 w 87259"/>
                <a:gd name="connsiteY4" fmla="*/ 1028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59" h="24931">
                  <a:moveTo>
                    <a:pt x="81650" y="10284"/>
                  </a:moveTo>
                  <a:cubicBezTo>
                    <a:pt x="81650" y="11531"/>
                    <a:pt x="65445" y="14024"/>
                    <a:pt x="45499" y="15270"/>
                  </a:cubicBezTo>
                  <a:cubicBezTo>
                    <a:pt x="25554" y="16517"/>
                    <a:pt x="9349" y="16517"/>
                    <a:pt x="9349" y="15270"/>
                  </a:cubicBezTo>
                  <a:cubicBezTo>
                    <a:pt x="9349" y="14024"/>
                    <a:pt x="25554" y="11531"/>
                    <a:pt x="45499" y="10284"/>
                  </a:cubicBezTo>
                  <a:cubicBezTo>
                    <a:pt x="65445" y="9038"/>
                    <a:pt x="81650" y="9038"/>
                    <a:pt x="81650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0" name="任意多边形: 形状 9969">
              <a:extLst>
                <a:ext uri="{FF2B5EF4-FFF2-40B4-BE49-F238E27FC236}">
                  <a16:creationId xmlns:a16="http://schemas.microsoft.com/office/drawing/2014/main" id="{123ACC1E-AF5E-4AD4-AF14-0B4A126B2554}"/>
                </a:ext>
              </a:extLst>
            </p:cNvPr>
            <p:cNvSpPr/>
            <p:nvPr/>
          </p:nvSpPr>
          <p:spPr>
            <a:xfrm>
              <a:off x="10931515" y="4694257"/>
              <a:ext cx="99725" cy="24931"/>
            </a:xfrm>
            <a:custGeom>
              <a:avLst/>
              <a:gdLst>
                <a:gd name="connsiteX0" fmla="*/ 92869 w 99725"/>
                <a:gd name="connsiteY0" fmla="*/ 9674 h 24931"/>
                <a:gd name="connsiteX1" fmla="*/ 51732 w 99725"/>
                <a:gd name="connsiteY1" fmla="*/ 19646 h 24931"/>
                <a:gd name="connsiteX2" fmla="*/ 9349 w 99725"/>
                <a:gd name="connsiteY2" fmla="*/ 24632 h 24931"/>
                <a:gd name="connsiteX3" fmla="*/ 50486 w 99725"/>
                <a:gd name="connsiteY3" fmla="*/ 14660 h 24931"/>
                <a:gd name="connsiteX4" fmla="*/ 92869 w 99725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" h="24931">
                  <a:moveTo>
                    <a:pt x="92869" y="9674"/>
                  </a:moveTo>
                  <a:cubicBezTo>
                    <a:pt x="92869" y="10920"/>
                    <a:pt x="75417" y="15906"/>
                    <a:pt x="51732" y="19646"/>
                  </a:cubicBezTo>
                  <a:cubicBezTo>
                    <a:pt x="29294" y="23386"/>
                    <a:pt x="10596" y="25879"/>
                    <a:pt x="9349" y="24632"/>
                  </a:cubicBezTo>
                  <a:cubicBezTo>
                    <a:pt x="9349" y="23386"/>
                    <a:pt x="26801" y="18399"/>
                    <a:pt x="50486" y="14660"/>
                  </a:cubicBezTo>
                  <a:cubicBezTo>
                    <a:pt x="74170" y="10920"/>
                    <a:pt x="92869" y="8427"/>
                    <a:pt x="92869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1" name="任意多边形: 形状 9970">
              <a:extLst>
                <a:ext uri="{FF2B5EF4-FFF2-40B4-BE49-F238E27FC236}">
                  <a16:creationId xmlns:a16="http://schemas.microsoft.com/office/drawing/2014/main" id="{C410B22E-75D7-49AE-B923-BE150491E311}"/>
                </a:ext>
              </a:extLst>
            </p:cNvPr>
            <p:cNvSpPr/>
            <p:nvPr/>
          </p:nvSpPr>
          <p:spPr>
            <a:xfrm>
              <a:off x="11021669" y="3719727"/>
              <a:ext cx="49863" cy="137123"/>
            </a:xfrm>
            <a:custGeom>
              <a:avLst/>
              <a:gdLst>
                <a:gd name="connsiteX0" fmla="*/ 48838 w 49862"/>
                <a:gd name="connsiteY0" fmla="*/ 131550 h 137122"/>
                <a:gd name="connsiteX1" fmla="*/ 28893 w 49862"/>
                <a:gd name="connsiteY1" fmla="*/ 124071 h 137122"/>
                <a:gd name="connsiteX2" fmla="*/ 10195 w 49862"/>
                <a:gd name="connsiteY2" fmla="*/ 77948 h 137122"/>
                <a:gd name="connsiteX3" fmla="*/ 23907 w 49862"/>
                <a:gd name="connsiteY3" fmla="*/ 9387 h 137122"/>
                <a:gd name="connsiteX4" fmla="*/ 15181 w 49862"/>
                <a:gd name="connsiteY4" fmla="*/ 76701 h 137122"/>
                <a:gd name="connsiteX5" fmla="*/ 31387 w 49862"/>
                <a:gd name="connsiteY5" fmla="*/ 121578 h 137122"/>
                <a:gd name="connsiteX6" fmla="*/ 48838 w 49862"/>
                <a:gd name="connsiteY6" fmla="*/ 1315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62" h="137122">
                  <a:moveTo>
                    <a:pt x="48838" y="131550"/>
                  </a:moveTo>
                  <a:cubicBezTo>
                    <a:pt x="50085" y="131550"/>
                    <a:pt x="38866" y="134044"/>
                    <a:pt x="28893" y="124071"/>
                  </a:cubicBezTo>
                  <a:cubicBezTo>
                    <a:pt x="18921" y="114098"/>
                    <a:pt x="12688" y="96647"/>
                    <a:pt x="10195" y="77948"/>
                  </a:cubicBezTo>
                  <a:cubicBezTo>
                    <a:pt x="5208" y="38058"/>
                    <a:pt x="23907" y="8140"/>
                    <a:pt x="23907" y="9387"/>
                  </a:cubicBezTo>
                  <a:cubicBezTo>
                    <a:pt x="25154" y="9387"/>
                    <a:pt x="10195" y="39304"/>
                    <a:pt x="15181" y="76701"/>
                  </a:cubicBezTo>
                  <a:cubicBezTo>
                    <a:pt x="17674" y="95400"/>
                    <a:pt x="23907" y="112852"/>
                    <a:pt x="31387" y="121578"/>
                  </a:cubicBezTo>
                  <a:cubicBezTo>
                    <a:pt x="40112" y="131550"/>
                    <a:pt x="48838" y="131550"/>
                    <a:pt x="48838" y="13155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2" name="任意多边形: 形状 9971">
              <a:extLst>
                <a:ext uri="{FF2B5EF4-FFF2-40B4-BE49-F238E27FC236}">
                  <a16:creationId xmlns:a16="http://schemas.microsoft.com/office/drawing/2014/main" id="{B1D3BFEE-4057-4FD4-AAC5-EB47D31F0095}"/>
                </a:ext>
              </a:extLst>
            </p:cNvPr>
            <p:cNvSpPr/>
            <p:nvPr/>
          </p:nvSpPr>
          <p:spPr>
            <a:xfrm>
              <a:off x="10724584" y="3680980"/>
              <a:ext cx="149588" cy="74794"/>
            </a:xfrm>
            <a:custGeom>
              <a:avLst/>
              <a:gdLst>
                <a:gd name="connsiteX0" fmla="*/ 150211 w 149588"/>
                <a:gd name="connsiteY0" fmla="*/ 9490 h 74794"/>
                <a:gd name="connsiteX1" fmla="*/ 136499 w 149588"/>
                <a:gd name="connsiteY1" fmla="*/ 28189 h 74794"/>
                <a:gd name="connsiteX2" fmla="*/ 89130 w 149588"/>
                <a:gd name="connsiteY2" fmla="*/ 59353 h 74794"/>
                <a:gd name="connsiteX3" fmla="*/ 33034 w 149588"/>
                <a:gd name="connsiteY3" fmla="*/ 69326 h 74794"/>
                <a:gd name="connsiteX4" fmla="*/ 9349 w 149588"/>
                <a:gd name="connsiteY4" fmla="*/ 65586 h 74794"/>
                <a:gd name="connsiteX5" fmla="*/ 86637 w 149588"/>
                <a:gd name="connsiteY5" fmla="*/ 54367 h 74794"/>
                <a:gd name="connsiteX6" fmla="*/ 150211 w 149588"/>
                <a:gd name="connsiteY6" fmla="*/ 9490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588" h="74794">
                  <a:moveTo>
                    <a:pt x="150211" y="9490"/>
                  </a:moveTo>
                  <a:cubicBezTo>
                    <a:pt x="150211" y="9490"/>
                    <a:pt x="146472" y="18216"/>
                    <a:pt x="136499" y="28189"/>
                  </a:cubicBezTo>
                  <a:cubicBezTo>
                    <a:pt x="126527" y="38162"/>
                    <a:pt x="110322" y="50627"/>
                    <a:pt x="89130" y="59353"/>
                  </a:cubicBezTo>
                  <a:cubicBezTo>
                    <a:pt x="67938" y="68079"/>
                    <a:pt x="47993" y="70572"/>
                    <a:pt x="33034" y="69326"/>
                  </a:cubicBezTo>
                  <a:cubicBezTo>
                    <a:pt x="18075" y="69326"/>
                    <a:pt x="9349" y="66833"/>
                    <a:pt x="9349" y="65586"/>
                  </a:cubicBezTo>
                  <a:cubicBezTo>
                    <a:pt x="9349" y="64339"/>
                    <a:pt x="45500" y="70572"/>
                    <a:pt x="86637" y="54367"/>
                  </a:cubicBezTo>
                  <a:cubicBezTo>
                    <a:pt x="127773" y="38162"/>
                    <a:pt x="148965" y="6997"/>
                    <a:pt x="150211" y="94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3" name="任意多边形: 形状 9972">
              <a:extLst>
                <a:ext uri="{FF2B5EF4-FFF2-40B4-BE49-F238E27FC236}">
                  <a16:creationId xmlns:a16="http://schemas.microsoft.com/office/drawing/2014/main" id="{921DB8AB-AEEF-40E5-8F1A-A33335722C64}"/>
                </a:ext>
              </a:extLst>
            </p:cNvPr>
            <p:cNvSpPr/>
            <p:nvPr/>
          </p:nvSpPr>
          <p:spPr>
            <a:xfrm>
              <a:off x="10844142" y="3681121"/>
              <a:ext cx="74794" cy="137123"/>
            </a:xfrm>
            <a:custGeom>
              <a:avLst/>
              <a:gdLst>
                <a:gd name="connsiteX0" fmla="*/ 76776 w 74794"/>
                <a:gd name="connsiteY0" fmla="*/ 9349 h 137122"/>
                <a:gd name="connsiteX1" fmla="*/ 68050 w 74794"/>
                <a:gd name="connsiteY1" fmla="*/ 29294 h 137122"/>
                <a:gd name="connsiteX2" fmla="*/ 43119 w 74794"/>
                <a:gd name="connsiteY2" fmla="*/ 75418 h 137122"/>
                <a:gd name="connsiteX3" fmla="*/ 14448 w 74794"/>
                <a:gd name="connsiteY3" fmla="*/ 119048 h 137122"/>
                <a:gd name="connsiteX4" fmla="*/ 19434 w 74794"/>
                <a:gd name="connsiteY4" fmla="*/ 130267 h 137122"/>
                <a:gd name="connsiteX5" fmla="*/ 24420 w 74794"/>
                <a:gd name="connsiteY5" fmla="*/ 132759 h 137122"/>
                <a:gd name="connsiteX6" fmla="*/ 18187 w 74794"/>
                <a:gd name="connsiteY6" fmla="*/ 131513 h 137122"/>
                <a:gd name="connsiteX7" fmla="*/ 11954 w 74794"/>
                <a:gd name="connsiteY7" fmla="*/ 127773 h 137122"/>
                <a:gd name="connsiteX8" fmla="*/ 10708 w 74794"/>
                <a:gd name="connsiteY8" fmla="*/ 117801 h 137122"/>
                <a:gd name="connsiteX9" fmla="*/ 38133 w 74794"/>
                <a:gd name="connsiteY9" fmla="*/ 72924 h 137122"/>
                <a:gd name="connsiteX10" fmla="*/ 76776 w 74794"/>
                <a:gd name="connsiteY10" fmla="*/ 934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794" h="137122">
                  <a:moveTo>
                    <a:pt x="76776" y="9349"/>
                  </a:moveTo>
                  <a:cubicBezTo>
                    <a:pt x="76776" y="9349"/>
                    <a:pt x="74283" y="16829"/>
                    <a:pt x="68050" y="29294"/>
                  </a:cubicBezTo>
                  <a:cubicBezTo>
                    <a:pt x="61817" y="41760"/>
                    <a:pt x="54338" y="57965"/>
                    <a:pt x="43119" y="75418"/>
                  </a:cubicBezTo>
                  <a:cubicBezTo>
                    <a:pt x="33146" y="92869"/>
                    <a:pt x="21928" y="109075"/>
                    <a:pt x="14448" y="119048"/>
                  </a:cubicBezTo>
                  <a:cubicBezTo>
                    <a:pt x="11954" y="124034"/>
                    <a:pt x="16941" y="127773"/>
                    <a:pt x="19434" y="130267"/>
                  </a:cubicBezTo>
                  <a:cubicBezTo>
                    <a:pt x="23174" y="131513"/>
                    <a:pt x="24420" y="132759"/>
                    <a:pt x="24420" y="132759"/>
                  </a:cubicBezTo>
                  <a:cubicBezTo>
                    <a:pt x="24420" y="132759"/>
                    <a:pt x="21928" y="132759"/>
                    <a:pt x="18187" y="131513"/>
                  </a:cubicBezTo>
                  <a:cubicBezTo>
                    <a:pt x="16941" y="131513"/>
                    <a:pt x="14448" y="130267"/>
                    <a:pt x="11954" y="127773"/>
                  </a:cubicBezTo>
                  <a:cubicBezTo>
                    <a:pt x="9462" y="125280"/>
                    <a:pt x="8215" y="121540"/>
                    <a:pt x="10708" y="117801"/>
                  </a:cubicBezTo>
                  <a:cubicBezTo>
                    <a:pt x="18187" y="105335"/>
                    <a:pt x="28160" y="90376"/>
                    <a:pt x="38133" y="72924"/>
                  </a:cubicBezTo>
                  <a:cubicBezTo>
                    <a:pt x="60571" y="38021"/>
                    <a:pt x="75530" y="9349"/>
                    <a:pt x="7677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4" name="任意多边形: 形状 9973">
              <a:extLst>
                <a:ext uri="{FF2B5EF4-FFF2-40B4-BE49-F238E27FC236}">
                  <a16:creationId xmlns:a16="http://schemas.microsoft.com/office/drawing/2014/main" id="{F5AB61A6-F287-4110-B4A2-1B410177A82B}"/>
                </a:ext>
              </a:extLst>
            </p:cNvPr>
            <p:cNvSpPr/>
            <p:nvPr/>
          </p:nvSpPr>
          <p:spPr>
            <a:xfrm>
              <a:off x="10924035" y="3693586"/>
              <a:ext cx="24931" cy="24931"/>
            </a:xfrm>
            <a:custGeom>
              <a:avLst/>
              <a:gdLst>
                <a:gd name="connsiteX0" fmla="*/ 16829 w 24931"/>
                <a:gd name="connsiteY0" fmla="*/ 9349 h 24931"/>
                <a:gd name="connsiteX1" fmla="*/ 9349 w 24931"/>
                <a:gd name="connsiteY1" fmla="*/ 19322 h 24931"/>
                <a:gd name="connsiteX2" fmla="*/ 16829 w 24931"/>
                <a:gd name="connsiteY2" fmla="*/ 26801 h 24931"/>
                <a:gd name="connsiteX3" fmla="*/ 20569 w 24931"/>
                <a:gd name="connsiteY3" fmla="*/ 24308 h 24931"/>
                <a:gd name="connsiteX4" fmla="*/ 16829 w 24931"/>
                <a:gd name="connsiteY4" fmla="*/ 9349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24931">
                  <a:moveTo>
                    <a:pt x="16829" y="9349"/>
                  </a:moveTo>
                  <a:cubicBezTo>
                    <a:pt x="13089" y="11843"/>
                    <a:pt x="10596" y="14335"/>
                    <a:pt x="9349" y="19322"/>
                  </a:cubicBezTo>
                  <a:cubicBezTo>
                    <a:pt x="9349" y="23062"/>
                    <a:pt x="13089" y="28048"/>
                    <a:pt x="16829" y="26801"/>
                  </a:cubicBezTo>
                  <a:cubicBezTo>
                    <a:pt x="18075" y="26801"/>
                    <a:pt x="19322" y="25555"/>
                    <a:pt x="20569" y="24308"/>
                  </a:cubicBezTo>
                  <a:cubicBezTo>
                    <a:pt x="23062" y="19322"/>
                    <a:pt x="21815" y="11843"/>
                    <a:pt x="16829" y="934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5" name="任意多边形: 形状 9974">
              <a:extLst>
                <a:ext uri="{FF2B5EF4-FFF2-40B4-BE49-F238E27FC236}">
                  <a16:creationId xmlns:a16="http://schemas.microsoft.com/office/drawing/2014/main" id="{FA76CFB9-977A-4B90-9134-69D34B836156}"/>
                </a:ext>
              </a:extLst>
            </p:cNvPr>
            <p:cNvSpPr/>
            <p:nvPr/>
          </p:nvSpPr>
          <p:spPr>
            <a:xfrm>
              <a:off x="10760735" y="3682367"/>
              <a:ext cx="373970" cy="87260"/>
            </a:xfrm>
            <a:custGeom>
              <a:avLst/>
              <a:gdLst>
                <a:gd name="connsiteX0" fmla="*/ 18075 w 373970"/>
                <a:gd name="connsiteY0" fmla="*/ 9349 h 87259"/>
                <a:gd name="connsiteX1" fmla="*/ 369607 w 373970"/>
                <a:gd name="connsiteY1" fmla="*/ 52979 h 87259"/>
                <a:gd name="connsiteX2" fmla="*/ 352156 w 373970"/>
                <a:gd name="connsiteY2" fmla="*/ 89130 h 87259"/>
                <a:gd name="connsiteX3" fmla="*/ 9349 w 373970"/>
                <a:gd name="connsiteY3" fmla="*/ 19322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0" h="87259">
                  <a:moveTo>
                    <a:pt x="18075" y="9349"/>
                  </a:moveTo>
                  <a:lnTo>
                    <a:pt x="369607" y="52979"/>
                  </a:lnTo>
                  <a:lnTo>
                    <a:pt x="352156" y="89130"/>
                  </a:lnTo>
                  <a:lnTo>
                    <a:pt x="9349" y="19322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6" name="任意多边形: 形状 9975">
              <a:extLst>
                <a:ext uri="{FF2B5EF4-FFF2-40B4-BE49-F238E27FC236}">
                  <a16:creationId xmlns:a16="http://schemas.microsoft.com/office/drawing/2014/main" id="{E620BB62-6481-49E6-81CC-5FF3F5E460A2}"/>
                </a:ext>
              </a:extLst>
            </p:cNvPr>
            <p:cNvSpPr/>
            <p:nvPr/>
          </p:nvSpPr>
          <p:spPr>
            <a:xfrm>
              <a:off x="10548818" y="2890796"/>
              <a:ext cx="336573" cy="311642"/>
            </a:xfrm>
            <a:custGeom>
              <a:avLst/>
              <a:gdLst>
                <a:gd name="connsiteX0" fmla="*/ 9349 w 336573"/>
                <a:gd name="connsiteY0" fmla="*/ 84143 h 311642"/>
                <a:gd name="connsiteX1" fmla="*/ 70431 w 336573"/>
                <a:gd name="connsiteY1" fmla="*/ 212540 h 311642"/>
                <a:gd name="connsiteX2" fmla="*/ 146472 w 336573"/>
                <a:gd name="connsiteY2" fmla="*/ 239964 h 311642"/>
                <a:gd name="connsiteX3" fmla="*/ 163923 w 336573"/>
                <a:gd name="connsiteY3" fmla="*/ 232485 h 311642"/>
                <a:gd name="connsiteX4" fmla="*/ 228745 w 336573"/>
                <a:gd name="connsiteY4" fmla="*/ 306033 h 311642"/>
                <a:gd name="connsiteX5" fmla="*/ 330964 w 336573"/>
                <a:gd name="connsiteY5" fmla="*/ 216280 h 311642"/>
                <a:gd name="connsiteX6" fmla="*/ 147718 w 336573"/>
                <a:gd name="connsiteY6" fmla="*/ 9349 h 311642"/>
                <a:gd name="connsiteX7" fmla="*/ 9349 w 336573"/>
                <a:gd name="connsiteY7" fmla="*/ 8414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573" h="311642">
                  <a:moveTo>
                    <a:pt x="9349" y="84143"/>
                  </a:moveTo>
                  <a:lnTo>
                    <a:pt x="70431" y="212540"/>
                  </a:lnTo>
                  <a:cubicBezTo>
                    <a:pt x="84143" y="241211"/>
                    <a:pt x="117801" y="253677"/>
                    <a:pt x="146472" y="239964"/>
                  </a:cubicBezTo>
                  <a:lnTo>
                    <a:pt x="163923" y="232485"/>
                  </a:lnTo>
                  <a:lnTo>
                    <a:pt x="228745" y="306033"/>
                  </a:lnTo>
                  <a:lnTo>
                    <a:pt x="330964" y="216280"/>
                  </a:lnTo>
                  <a:lnTo>
                    <a:pt x="147718" y="9349"/>
                  </a:lnTo>
                  <a:lnTo>
                    <a:pt x="9349" y="84143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7" name="任意多边形: 形状 9976">
              <a:extLst>
                <a:ext uri="{FF2B5EF4-FFF2-40B4-BE49-F238E27FC236}">
                  <a16:creationId xmlns:a16="http://schemas.microsoft.com/office/drawing/2014/main" id="{6D731686-3157-4EC9-804B-181114F383EC}"/>
                </a:ext>
              </a:extLst>
            </p:cNvPr>
            <p:cNvSpPr/>
            <p:nvPr/>
          </p:nvSpPr>
          <p:spPr>
            <a:xfrm>
              <a:off x="10493642" y="2839735"/>
              <a:ext cx="336573" cy="249314"/>
            </a:xfrm>
            <a:custGeom>
              <a:avLst/>
              <a:gdLst>
                <a:gd name="connsiteX0" fmla="*/ 14663 w 336573"/>
                <a:gd name="connsiteY0" fmla="*/ 86589 h 249313"/>
                <a:gd name="connsiteX1" fmla="*/ 76991 w 336573"/>
                <a:gd name="connsiteY1" fmla="*/ 61657 h 249313"/>
                <a:gd name="connsiteX2" fmla="*/ 224086 w 336573"/>
                <a:gd name="connsiteY2" fmla="*/ 13041 h 249313"/>
                <a:gd name="connsiteX3" fmla="*/ 326305 w 336573"/>
                <a:gd name="connsiteY3" fmla="*/ 153903 h 249313"/>
                <a:gd name="connsiteX4" fmla="*/ 337523 w 336573"/>
                <a:gd name="connsiteY4" fmla="*/ 198780 h 249313"/>
                <a:gd name="connsiteX5" fmla="*/ 285168 w 336573"/>
                <a:gd name="connsiteY5" fmla="*/ 244903 h 249313"/>
                <a:gd name="connsiteX6" fmla="*/ 211620 w 336573"/>
                <a:gd name="connsiteY6" fmla="*/ 196286 h 249313"/>
                <a:gd name="connsiteX7" fmla="*/ 211620 w 336573"/>
                <a:gd name="connsiteY7" fmla="*/ 121492 h 249313"/>
                <a:gd name="connsiteX8" fmla="*/ 181702 w 336573"/>
                <a:gd name="connsiteY8" fmla="*/ 176342 h 249313"/>
                <a:gd name="connsiteX9" fmla="*/ 165497 w 336573"/>
                <a:gd name="connsiteY9" fmla="*/ 188807 h 249313"/>
                <a:gd name="connsiteX10" fmla="*/ 126854 w 336573"/>
                <a:gd name="connsiteY10" fmla="*/ 117753 h 249313"/>
                <a:gd name="connsiteX11" fmla="*/ 32114 w 336573"/>
                <a:gd name="connsiteY11" fmla="*/ 133958 h 249313"/>
                <a:gd name="connsiteX12" fmla="*/ 14663 w 336573"/>
                <a:gd name="connsiteY12" fmla="*/ 8658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6573" h="249313">
                  <a:moveTo>
                    <a:pt x="14663" y="86589"/>
                  </a:moveTo>
                  <a:cubicBezTo>
                    <a:pt x="14663" y="86589"/>
                    <a:pt x="20896" y="54178"/>
                    <a:pt x="76991" y="61657"/>
                  </a:cubicBezTo>
                  <a:cubicBezTo>
                    <a:pt x="131840" y="69137"/>
                    <a:pt x="165497" y="-8151"/>
                    <a:pt x="224086" y="13041"/>
                  </a:cubicBezTo>
                  <a:cubicBezTo>
                    <a:pt x="282675" y="34233"/>
                    <a:pt x="315085" y="94068"/>
                    <a:pt x="326305" y="153903"/>
                  </a:cubicBezTo>
                  <a:lnTo>
                    <a:pt x="337523" y="198780"/>
                  </a:lnTo>
                  <a:lnTo>
                    <a:pt x="285168" y="244903"/>
                  </a:lnTo>
                  <a:cubicBezTo>
                    <a:pt x="285168" y="244903"/>
                    <a:pt x="215360" y="218725"/>
                    <a:pt x="211620" y="196286"/>
                  </a:cubicBezTo>
                  <a:cubicBezTo>
                    <a:pt x="211620" y="196286"/>
                    <a:pt x="257743" y="133958"/>
                    <a:pt x="211620" y="121492"/>
                  </a:cubicBezTo>
                  <a:cubicBezTo>
                    <a:pt x="165497" y="109027"/>
                    <a:pt x="181702" y="176342"/>
                    <a:pt x="181702" y="176342"/>
                  </a:cubicBezTo>
                  <a:lnTo>
                    <a:pt x="165497" y="188807"/>
                  </a:lnTo>
                  <a:lnTo>
                    <a:pt x="126854" y="117753"/>
                  </a:lnTo>
                  <a:cubicBezTo>
                    <a:pt x="126854" y="117753"/>
                    <a:pt x="69511" y="157643"/>
                    <a:pt x="32114" y="133958"/>
                  </a:cubicBezTo>
                  <a:cubicBezTo>
                    <a:pt x="-5283" y="110273"/>
                    <a:pt x="14663" y="86589"/>
                    <a:pt x="14663" y="8658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8" name="任意多边形: 形状 9977">
              <a:extLst>
                <a:ext uri="{FF2B5EF4-FFF2-40B4-BE49-F238E27FC236}">
                  <a16:creationId xmlns:a16="http://schemas.microsoft.com/office/drawing/2014/main" id="{35C90321-8F73-4AC5-84BD-29D73230BBE5}"/>
                </a:ext>
              </a:extLst>
            </p:cNvPr>
            <p:cNvSpPr/>
            <p:nvPr/>
          </p:nvSpPr>
          <p:spPr>
            <a:xfrm>
              <a:off x="10763228" y="3076535"/>
              <a:ext cx="149588" cy="149588"/>
            </a:xfrm>
            <a:custGeom>
              <a:avLst/>
              <a:gdLst>
                <a:gd name="connsiteX0" fmla="*/ 13089 w 149588"/>
                <a:gd name="connsiteY0" fmla="*/ 142732 h 149588"/>
                <a:gd name="connsiteX1" fmla="*/ 9349 w 149588"/>
                <a:gd name="connsiteY1" fmla="*/ 92869 h 149588"/>
                <a:gd name="connsiteX2" fmla="*/ 97855 w 149588"/>
                <a:gd name="connsiteY2" fmla="*/ 9349 h 149588"/>
                <a:gd name="connsiteX3" fmla="*/ 142731 w 149588"/>
                <a:gd name="connsiteY3" fmla="*/ 30541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88" h="149588">
                  <a:moveTo>
                    <a:pt x="13089" y="142732"/>
                  </a:moveTo>
                  <a:cubicBezTo>
                    <a:pt x="14335" y="137746"/>
                    <a:pt x="9349" y="92869"/>
                    <a:pt x="9349" y="92869"/>
                  </a:cubicBezTo>
                  <a:lnTo>
                    <a:pt x="97855" y="9349"/>
                  </a:lnTo>
                  <a:lnTo>
                    <a:pt x="142731" y="30541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9" name="任意多边形: 形状 9978">
              <a:extLst>
                <a:ext uri="{FF2B5EF4-FFF2-40B4-BE49-F238E27FC236}">
                  <a16:creationId xmlns:a16="http://schemas.microsoft.com/office/drawing/2014/main" id="{F988C0AB-2435-4310-8354-F3BD4E557BB6}"/>
                </a:ext>
              </a:extLst>
            </p:cNvPr>
            <p:cNvSpPr/>
            <p:nvPr/>
          </p:nvSpPr>
          <p:spPr>
            <a:xfrm>
              <a:off x="10766968" y="3097727"/>
              <a:ext cx="149588" cy="124657"/>
            </a:xfrm>
            <a:custGeom>
              <a:avLst/>
              <a:gdLst>
                <a:gd name="connsiteX0" fmla="*/ 140239 w 149588"/>
                <a:gd name="connsiteY0" fmla="*/ 9349 h 124656"/>
                <a:gd name="connsiteX1" fmla="*/ 9349 w 149588"/>
                <a:gd name="connsiteY1" fmla="*/ 12154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88" h="124656">
                  <a:moveTo>
                    <a:pt x="140239" y="9349"/>
                  </a:moveTo>
                  <a:lnTo>
                    <a:pt x="9349" y="121540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0" name="任意多边形: 形状 9979">
              <a:extLst>
                <a:ext uri="{FF2B5EF4-FFF2-40B4-BE49-F238E27FC236}">
                  <a16:creationId xmlns:a16="http://schemas.microsoft.com/office/drawing/2014/main" id="{A27DF41D-F473-41CC-9A9A-1061A119652B}"/>
                </a:ext>
              </a:extLst>
            </p:cNvPr>
            <p:cNvSpPr/>
            <p:nvPr/>
          </p:nvSpPr>
          <p:spPr>
            <a:xfrm>
              <a:off x="10738297" y="3153822"/>
              <a:ext cx="49863" cy="211917"/>
            </a:xfrm>
            <a:custGeom>
              <a:avLst/>
              <a:gdLst>
                <a:gd name="connsiteX0" fmla="*/ 30540 w 49862"/>
                <a:gd name="connsiteY0" fmla="*/ 200074 h 211916"/>
                <a:gd name="connsiteX1" fmla="*/ 9349 w 49862"/>
                <a:gd name="connsiteY1" fmla="*/ 9349 h 211916"/>
                <a:gd name="connsiteX2" fmla="*/ 43006 w 49862"/>
                <a:gd name="connsiteY2" fmla="*/ 44253 h 211916"/>
                <a:gd name="connsiteX3" fmla="*/ 31787 w 49862"/>
                <a:gd name="connsiteY3" fmla="*/ 207554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62" h="211916">
                  <a:moveTo>
                    <a:pt x="30540" y="200074"/>
                  </a:moveTo>
                  <a:lnTo>
                    <a:pt x="9349" y="9349"/>
                  </a:lnTo>
                  <a:lnTo>
                    <a:pt x="43006" y="44253"/>
                  </a:lnTo>
                  <a:lnTo>
                    <a:pt x="31787" y="207554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>
              <a:extLst>
                <a:ext uri="{FF2B5EF4-FFF2-40B4-BE49-F238E27FC236}">
                  <a16:creationId xmlns:a16="http://schemas.microsoft.com/office/drawing/2014/main" id="{1C5DFFCE-B58C-4582-A4FE-5F73AEEE04A0}"/>
                </a:ext>
              </a:extLst>
            </p:cNvPr>
            <p:cNvSpPr/>
            <p:nvPr/>
          </p:nvSpPr>
          <p:spPr>
            <a:xfrm>
              <a:off x="10760735" y="3181247"/>
              <a:ext cx="49863" cy="199451"/>
            </a:xfrm>
            <a:custGeom>
              <a:avLst/>
              <a:gdLst>
                <a:gd name="connsiteX0" fmla="*/ 14335 w 49862"/>
                <a:gd name="connsiteY0" fmla="*/ 9349 h 199450"/>
                <a:gd name="connsiteX1" fmla="*/ 49240 w 49862"/>
                <a:gd name="connsiteY1" fmla="*/ 117801 h 199450"/>
                <a:gd name="connsiteX2" fmla="*/ 9349 w 49862"/>
                <a:gd name="connsiteY2" fmla="*/ 2000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199450">
                  <a:moveTo>
                    <a:pt x="14335" y="9349"/>
                  </a:moveTo>
                  <a:lnTo>
                    <a:pt x="49240" y="117801"/>
                  </a:lnTo>
                  <a:lnTo>
                    <a:pt x="9349" y="200074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>
              <a:extLst>
                <a:ext uri="{FF2B5EF4-FFF2-40B4-BE49-F238E27FC236}">
                  <a16:creationId xmlns:a16="http://schemas.microsoft.com/office/drawing/2014/main" id="{A69D6766-0BD3-425F-9CBF-0A1D0823A765}"/>
                </a:ext>
              </a:extLst>
            </p:cNvPr>
            <p:cNvSpPr/>
            <p:nvPr/>
          </p:nvSpPr>
          <p:spPr>
            <a:xfrm>
              <a:off x="10723338" y="3153822"/>
              <a:ext cx="49863" cy="224382"/>
            </a:xfrm>
            <a:custGeom>
              <a:avLst/>
              <a:gdLst>
                <a:gd name="connsiteX0" fmla="*/ 45499 w 49862"/>
                <a:gd name="connsiteY0" fmla="*/ 221266 h 224382"/>
                <a:gd name="connsiteX1" fmla="*/ 9349 w 49862"/>
                <a:gd name="connsiteY1" fmla="*/ 85390 h 224382"/>
                <a:gd name="connsiteX2" fmla="*/ 24308 w 49862"/>
                <a:gd name="connsiteY2" fmla="*/ 9349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224382">
                  <a:moveTo>
                    <a:pt x="45499" y="221266"/>
                  </a:moveTo>
                  <a:lnTo>
                    <a:pt x="9349" y="85390"/>
                  </a:lnTo>
                  <a:lnTo>
                    <a:pt x="24308" y="9349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>
              <a:extLst>
                <a:ext uri="{FF2B5EF4-FFF2-40B4-BE49-F238E27FC236}">
                  <a16:creationId xmlns:a16="http://schemas.microsoft.com/office/drawing/2014/main" id="{2ABD96ED-CBBB-4133-9852-F297A6CE0CCF}"/>
                </a:ext>
              </a:extLst>
            </p:cNvPr>
            <p:cNvSpPr/>
            <p:nvPr/>
          </p:nvSpPr>
          <p:spPr>
            <a:xfrm>
              <a:off x="10737050" y="3153822"/>
              <a:ext cx="37397" cy="99725"/>
            </a:xfrm>
            <a:custGeom>
              <a:avLst/>
              <a:gdLst>
                <a:gd name="connsiteX0" fmla="*/ 14336 w 37397"/>
                <a:gd name="connsiteY0" fmla="*/ 9349 h 99725"/>
                <a:gd name="connsiteX1" fmla="*/ 38020 w 37397"/>
                <a:gd name="connsiteY1" fmla="*/ 36774 h 99725"/>
                <a:gd name="connsiteX2" fmla="*/ 36774 w 37397"/>
                <a:gd name="connsiteY2" fmla="*/ 91623 h 99725"/>
                <a:gd name="connsiteX3" fmla="*/ 16829 w 37397"/>
                <a:gd name="connsiteY3" fmla="*/ 77911 h 99725"/>
                <a:gd name="connsiteX4" fmla="*/ 9349 w 37397"/>
                <a:gd name="connsiteY4" fmla="*/ 1682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99725">
                  <a:moveTo>
                    <a:pt x="14336" y="9349"/>
                  </a:moveTo>
                  <a:lnTo>
                    <a:pt x="38020" y="36774"/>
                  </a:lnTo>
                  <a:lnTo>
                    <a:pt x="36774" y="91623"/>
                  </a:lnTo>
                  <a:lnTo>
                    <a:pt x="16829" y="77911"/>
                  </a:lnTo>
                  <a:lnTo>
                    <a:pt x="9349" y="16829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>
              <a:extLst>
                <a:ext uri="{FF2B5EF4-FFF2-40B4-BE49-F238E27FC236}">
                  <a16:creationId xmlns:a16="http://schemas.microsoft.com/office/drawing/2014/main" id="{139AD139-69D8-4516-AF73-4092A48AC35F}"/>
                </a:ext>
              </a:extLst>
            </p:cNvPr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5" name="任意多边形: 形状 9984">
              <a:extLst>
                <a:ext uri="{FF2B5EF4-FFF2-40B4-BE49-F238E27FC236}">
                  <a16:creationId xmlns:a16="http://schemas.microsoft.com/office/drawing/2014/main" id="{17D95CC1-8B89-4366-AFCF-C8E6F14398DD}"/>
                </a:ext>
              </a:extLst>
            </p:cNvPr>
            <p:cNvSpPr/>
            <p:nvPr/>
          </p:nvSpPr>
          <p:spPr>
            <a:xfrm>
              <a:off x="10456572" y="3229863"/>
              <a:ext cx="386436" cy="398902"/>
            </a:xfrm>
            <a:custGeom>
              <a:avLst/>
              <a:gdLst>
                <a:gd name="connsiteX0" fmla="*/ 308526 w 386436"/>
                <a:gd name="connsiteY0" fmla="*/ 9349 h 398901"/>
                <a:gd name="connsiteX1" fmla="*/ 216280 w 386436"/>
                <a:gd name="connsiteY1" fmla="*/ 286087 h 398901"/>
                <a:gd name="connsiteX2" fmla="*/ 77911 w 386436"/>
                <a:gd name="connsiteY2" fmla="*/ 263649 h 398901"/>
                <a:gd name="connsiteX3" fmla="*/ 9349 w 386436"/>
                <a:gd name="connsiteY3" fmla="*/ 301046 h 398901"/>
                <a:gd name="connsiteX4" fmla="*/ 46746 w 386436"/>
                <a:gd name="connsiteY4" fmla="*/ 373347 h 398901"/>
                <a:gd name="connsiteX5" fmla="*/ 306032 w 386436"/>
                <a:gd name="connsiteY5" fmla="*/ 363375 h 398901"/>
                <a:gd name="connsiteX6" fmla="*/ 318498 w 386436"/>
                <a:gd name="connsiteY6" fmla="*/ 15582 h 398901"/>
                <a:gd name="connsiteX7" fmla="*/ 308526 w 386436"/>
                <a:gd name="connsiteY7" fmla="*/ 9349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6436" h="398901">
                  <a:moveTo>
                    <a:pt x="308526" y="9349"/>
                  </a:moveTo>
                  <a:cubicBezTo>
                    <a:pt x="308526" y="9349"/>
                    <a:pt x="334704" y="283594"/>
                    <a:pt x="216280" y="286087"/>
                  </a:cubicBezTo>
                  <a:cubicBezTo>
                    <a:pt x="97856" y="288581"/>
                    <a:pt x="77911" y="263649"/>
                    <a:pt x="77911" y="263649"/>
                  </a:cubicBezTo>
                  <a:lnTo>
                    <a:pt x="9349" y="301046"/>
                  </a:lnTo>
                  <a:lnTo>
                    <a:pt x="46746" y="373347"/>
                  </a:lnTo>
                  <a:cubicBezTo>
                    <a:pt x="46746" y="373347"/>
                    <a:pt x="207554" y="426950"/>
                    <a:pt x="306032" y="363375"/>
                  </a:cubicBezTo>
                  <a:cubicBezTo>
                    <a:pt x="468086" y="258663"/>
                    <a:pt x="318498" y="15582"/>
                    <a:pt x="318498" y="15582"/>
                  </a:cubicBezTo>
                  <a:lnTo>
                    <a:pt x="308526" y="9349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>
              <a:extLst>
                <a:ext uri="{FF2B5EF4-FFF2-40B4-BE49-F238E27FC236}">
                  <a16:creationId xmlns:a16="http://schemas.microsoft.com/office/drawing/2014/main" id="{15C0079D-90A4-4BF0-975D-548BFB65CA6A}"/>
                </a:ext>
              </a:extLst>
            </p:cNvPr>
            <p:cNvSpPr/>
            <p:nvPr/>
          </p:nvSpPr>
          <p:spPr>
            <a:xfrm>
              <a:off x="10298258" y="3309644"/>
              <a:ext cx="573421" cy="486162"/>
            </a:xfrm>
            <a:custGeom>
              <a:avLst/>
              <a:gdLst>
                <a:gd name="connsiteX0" fmla="*/ 542881 w 573421"/>
                <a:gd name="connsiteY0" fmla="*/ 9349 h 486161"/>
                <a:gd name="connsiteX1" fmla="*/ 9349 w 573421"/>
                <a:gd name="connsiteY1" fmla="*/ 438169 h 486161"/>
                <a:gd name="connsiteX2" fmla="*/ 52979 w 573421"/>
                <a:gd name="connsiteY2" fmla="*/ 483045 h 486161"/>
                <a:gd name="connsiteX3" fmla="*/ 554100 w 573421"/>
                <a:gd name="connsiteY3" fmla="*/ 156444 h 486161"/>
                <a:gd name="connsiteX4" fmla="*/ 542881 w 573421"/>
                <a:gd name="connsiteY4" fmla="*/ 9349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421" h="486161">
                  <a:moveTo>
                    <a:pt x="542881" y="9349"/>
                  </a:moveTo>
                  <a:cubicBezTo>
                    <a:pt x="531662" y="14335"/>
                    <a:pt x="9349" y="438169"/>
                    <a:pt x="9349" y="438169"/>
                  </a:cubicBezTo>
                  <a:lnTo>
                    <a:pt x="52979" y="483045"/>
                  </a:lnTo>
                  <a:cubicBezTo>
                    <a:pt x="52979" y="483045"/>
                    <a:pt x="519196" y="215033"/>
                    <a:pt x="554100" y="156444"/>
                  </a:cubicBezTo>
                  <a:cubicBezTo>
                    <a:pt x="589004" y="97856"/>
                    <a:pt x="542881" y="9349"/>
                    <a:pt x="542881" y="934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>
              <a:extLst>
                <a:ext uri="{FF2B5EF4-FFF2-40B4-BE49-F238E27FC236}">
                  <a16:creationId xmlns:a16="http://schemas.microsoft.com/office/drawing/2014/main" id="{476A1B55-D592-468B-8D0A-F9DDFBD39050}"/>
                </a:ext>
              </a:extLst>
            </p:cNvPr>
            <p:cNvSpPr/>
            <p:nvPr/>
          </p:nvSpPr>
          <p:spPr>
            <a:xfrm>
              <a:off x="10761981" y="3300838"/>
              <a:ext cx="211917" cy="199451"/>
            </a:xfrm>
            <a:custGeom>
              <a:avLst/>
              <a:gdLst>
                <a:gd name="connsiteX0" fmla="*/ 61705 w 211916"/>
                <a:gd name="connsiteY0" fmla="*/ 190181 h 199450"/>
                <a:gd name="connsiteX1" fmla="*/ 76664 w 211916"/>
                <a:gd name="connsiteY1" fmla="*/ 181455 h 199450"/>
                <a:gd name="connsiteX2" fmla="*/ 117801 w 211916"/>
                <a:gd name="connsiteY2" fmla="*/ 157770 h 199450"/>
                <a:gd name="connsiteX3" fmla="*/ 173896 w 211916"/>
                <a:gd name="connsiteY3" fmla="*/ 116634 h 199450"/>
                <a:gd name="connsiteX4" fmla="*/ 201321 w 211916"/>
                <a:gd name="connsiteY4" fmla="*/ 86716 h 199450"/>
                <a:gd name="connsiteX5" fmla="*/ 203814 w 211916"/>
                <a:gd name="connsiteY5" fmla="*/ 46826 h 199450"/>
                <a:gd name="connsiteX6" fmla="*/ 168910 w 211916"/>
                <a:gd name="connsiteY6" fmla="*/ 23141 h 199450"/>
                <a:gd name="connsiteX7" fmla="*/ 129020 w 211916"/>
                <a:gd name="connsiteY7" fmla="*/ 14415 h 199450"/>
                <a:gd name="connsiteX8" fmla="*/ 64199 w 211916"/>
                <a:gd name="connsiteY8" fmla="*/ 35607 h 199450"/>
                <a:gd name="connsiteX9" fmla="*/ 24308 w 211916"/>
                <a:gd name="connsiteY9" fmla="*/ 60538 h 199450"/>
                <a:gd name="connsiteX10" fmla="*/ 9349 w 211916"/>
                <a:gd name="connsiteY10" fmla="*/ 69264 h 199450"/>
                <a:gd name="connsiteX11" fmla="*/ 23062 w 211916"/>
                <a:gd name="connsiteY11" fmla="*/ 59291 h 199450"/>
                <a:gd name="connsiteX12" fmla="*/ 62952 w 211916"/>
                <a:gd name="connsiteY12" fmla="*/ 31867 h 199450"/>
                <a:gd name="connsiteX13" fmla="*/ 130267 w 211916"/>
                <a:gd name="connsiteY13" fmla="*/ 9429 h 199450"/>
                <a:gd name="connsiteX14" fmla="*/ 171403 w 211916"/>
                <a:gd name="connsiteY14" fmla="*/ 18155 h 199450"/>
                <a:gd name="connsiteX15" fmla="*/ 208800 w 211916"/>
                <a:gd name="connsiteY15" fmla="*/ 44333 h 199450"/>
                <a:gd name="connsiteX16" fmla="*/ 206307 w 211916"/>
                <a:gd name="connsiteY16" fmla="*/ 89209 h 199450"/>
                <a:gd name="connsiteX17" fmla="*/ 177636 w 211916"/>
                <a:gd name="connsiteY17" fmla="*/ 119127 h 199450"/>
                <a:gd name="connsiteX18" fmla="*/ 120294 w 211916"/>
                <a:gd name="connsiteY18" fmla="*/ 160263 h 199450"/>
                <a:gd name="connsiteX19" fmla="*/ 77911 w 211916"/>
                <a:gd name="connsiteY19" fmla="*/ 182702 h 199450"/>
                <a:gd name="connsiteX20" fmla="*/ 65445 w 211916"/>
                <a:gd name="connsiteY20" fmla="*/ 187688 h 199450"/>
                <a:gd name="connsiteX21" fmla="*/ 61705 w 211916"/>
                <a:gd name="connsiteY21" fmla="*/ 190181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1916" h="199450">
                  <a:moveTo>
                    <a:pt x="61705" y="190181"/>
                  </a:moveTo>
                  <a:cubicBezTo>
                    <a:pt x="61705" y="190181"/>
                    <a:pt x="66692" y="187688"/>
                    <a:pt x="76664" y="181455"/>
                  </a:cubicBezTo>
                  <a:cubicBezTo>
                    <a:pt x="86637" y="176469"/>
                    <a:pt x="100349" y="168990"/>
                    <a:pt x="117801" y="157770"/>
                  </a:cubicBezTo>
                  <a:cubicBezTo>
                    <a:pt x="135253" y="146551"/>
                    <a:pt x="153952" y="132839"/>
                    <a:pt x="173896" y="116634"/>
                  </a:cubicBezTo>
                  <a:cubicBezTo>
                    <a:pt x="183869" y="107907"/>
                    <a:pt x="195088" y="99182"/>
                    <a:pt x="201321" y="86716"/>
                  </a:cubicBezTo>
                  <a:cubicBezTo>
                    <a:pt x="208800" y="75497"/>
                    <a:pt x="211293" y="59291"/>
                    <a:pt x="203814" y="46826"/>
                  </a:cubicBezTo>
                  <a:cubicBezTo>
                    <a:pt x="196335" y="34360"/>
                    <a:pt x="182623" y="28127"/>
                    <a:pt x="168910" y="23141"/>
                  </a:cubicBezTo>
                  <a:cubicBezTo>
                    <a:pt x="155198" y="18155"/>
                    <a:pt x="142732" y="14415"/>
                    <a:pt x="129020" y="14415"/>
                  </a:cubicBezTo>
                  <a:cubicBezTo>
                    <a:pt x="102842" y="13169"/>
                    <a:pt x="81650" y="25634"/>
                    <a:pt x="64199" y="35607"/>
                  </a:cubicBezTo>
                  <a:cubicBezTo>
                    <a:pt x="49240" y="44333"/>
                    <a:pt x="36774" y="53058"/>
                    <a:pt x="24308" y="60538"/>
                  </a:cubicBezTo>
                  <a:cubicBezTo>
                    <a:pt x="14336" y="66771"/>
                    <a:pt x="9349" y="69264"/>
                    <a:pt x="9349" y="69264"/>
                  </a:cubicBezTo>
                  <a:cubicBezTo>
                    <a:pt x="9349" y="69264"/>
                    <a:pt x="14336" y="65524"/>
                    <a:pt x="23062" y="59291"/>
                  </a:cubicBezTo>
                  <a:cubicBezTo>
                    <a:pt x="34281" y="51812"/>
                    <a:pt x="47993" y="41839"/>
                    <a:pt x="62952" y="31867"/>
                  </a:cubicBezTo>
                  <a:cubicBezTo>
                    <a:pt x="79158" y="21894"/>
                    <a:pt x="101596" y="8182"/>
                    <a:pt x="130267" y="9429"/>
                  </a:cubicBezTo>
                  <a:cubicBezTo>
                    <a:pt x="143978" y="9429"/>
                    <a:pt x="157691" y="13169"/>
                    <a:pt x="171403" y="18155"/>
                  </a:cubicBezTo>
                  <a:cubicBezTo>
                    <a:pt x="185116" y="23141"/>
                    <a:pt x="200074" y="30620"/>
                    <a:pt x="208800" y="44333"/>
                  </a:cubicBezTo>
                  <a:cubicBezTo>
                    <a:pt x="217526" y="59291"/>
                    <a:pt x="213787" y="76743"/>
                    <a:pt x="206307" y="89209"/>
                  </a:cubicBezTo>
                  <a:cubicBezTo>
                    <a:pt x="198828" y="101675"/>
                    <a:pt x="187608" y="111647"/>
                    <a:pt x="177636" y="119127"/>
                  </a:cubicBezTo>
                  <a:cubicBezTo>
                    <a:pt x="157691" y="136579"/>
                    <a:pt x="137746" y="150291"/>
                    <a:pt x="120294" y="160263"/>
                  </a:cubicBezTo>
                  <a:cubicBezTo>
                    <a:pt x="102842" y="170236"/>
                    <a:pt x="87883" y="177715"/>
                    <a:pt x="77911" y="182702"/>
                  </a:cubicBezTo>
                  <a:cubicBezTo>
                    <a:pt x="72925" y="185195"/>
                    <a:pt x="69184" y="186441"/>
                    <a:pt x="65445" y="187688"/>
                  </a:cubicBezTo>
                  <a:cubicBezTo>
                    <a:pt x="62952" y="190181"/>
                    <a:pt x="61705" y="190181"/>
                    <a:pt x="61705" y="19018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>
              <a:extLst>
                <a:ext uri="{FF2B5EF4-FFF2-40B4-BE49-F238E27FC236}">
                  <a16:creationId xmlns:a16="http://schemas.microsoft.com/office/drawing/2014/main" id="{28190670-8BC6-4979-8531-7B8A80412517}"/>
                </a:ext>
              </a:extLst>
            </p:cNvPr>
            <p:cNvSpPr/>
            <p:nvPr/>
          </p:nvSpPr>
          <p:spPr>
            <a:xfrm>
              <a:off x="10576267" y="3529143"/>
              <a:ext cx="124657" cy="99725"/>
            </a:xfrm>
            <a:custGeom>
              <a:avLst/>
              <a:gdLst>
                <a:gd name="connsiteX0" fmla="*/ 119023 w 124656"/>
                <a:gd name="connsiteY0" fmla="*/ 17972 h 99725"/>
                <a:gd name="connsiteX1" fmla="*/ 82872 w 124656"/>
                <a:gd name="connsiteY1" fmla="*/ 80300 h 99725"/>
                <a:gd name="connsiteX2" fmla="*/ 11818 w 124656"/>
                <a:gd name="connsiteY2" fmla="*/ 91519 h 99725"/>
                <a:gd name="connsiteX3" fmla="*/ 47968 w 124656"/>
                <a:gd name="connsiteY3" fmla="*/ 29191 h 99725"/>
                <a:gd name="connsiteX4" fmla="*/ 119023 w 124656"/>
                <a:gd name="connsiteY4" fmla="*/ 17972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99725">
                  <a:moveTo>
                    <a:pt x="119023" y="17972"/>
                  </a:moveTo>
                  <a:cubicBezTo>
                    <a:pt x="128995" y="31684"/>
                    <a:pt x="112790" y="60355"/>
                    <a:pt x="82872" y="80300"/>
                  </a:cubicBezTo>
                  <a:cubicBezTo>
                    <a:pt x="52955" y="100245"/>
                    <a:pt x="20544" y="105232"/>
                    <a:pt x="11818" y="91519"/>
                  </a:cubicBezTo>
                  <a:cubicBezTo>
                    <a:pt x="3092" y="77807"/>
                    <a:pt x="18051" y="49136"/>
                    <a:pt x="47968" y="29191"/>
                  </a:cubicBezTo>
                  <a:cubicBezTo>
                    <a:pt x="77886" y="7999"/>
                    <a:pt x="109051" y="3013"/>
                    <a:pt x="119023" y="1797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>
              <a:extLst>
                <a:ext uri="{FF2B5EF4-FFF2-40B4-BE49-F238E27FC236}">
                  <a16:creationId xmlns:a16="http://schemas.microsoft.com/office/drawing/2014/main" id="{FBCAD9F3-6932-4D7C-BBBD-419600429261}"/>
                </a:ext>
              </a:extLst>
            </p:cNvPr>
            <p:cNvSpPr/>
            <p:nvPr/>
          </p:nvSpPr>
          <p:spPr>
            <a:xfrm>
              <a:off x="10754502" y="3378205"/>
              <a:ext cx="211917" cy="236848"/>
            </a:xfrm>
            <a:custGeom>
              <a:avLst/>
              <a:gdLst>
                <a:gd name="connsiteX0" fmla="*/ 9349 w 211916"/>
                <a:gd name="connsiteY0" fmla="*/ 238718 h 236847"/>
                <a:gd name="connsiteX1" fmla="*/ 213786 w 211916"/>
                <a:gd name="connsiteY1" fmla="*/ 9349 h 236847"/>
                <a:gd name="connsiteX2" fmla="*/ 13089 w 211916"/>
                <a:gd name="connsiteY2" fmla="*/ 156444 h 236847"/>
                <a:gd name="connsiteX3" fmla="*/ 9349 w 211916"/>
                <a:gd name="connsiteY3" fmla="*/ 238718 h 23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916" h="236847">
                  <a:moveTo>
                    <a:pt x="9349" y="238718"/>
                  </a:moveTo>
                  <a:cubicBezTo>
                    <a:pt x="9349" y="238718"/>
                    <a:pt x="227499" y="107828"/>
                    <a:pt x="213786" y="9349"/>
                  </a:cubicBezTo>
                  <a:lnTo>
                    <a:pt x="13089" y="156444"/>
                  </a:lnTo>
                  <a:cubicBezTo>
                    <a:pt x="13089" y="156444"/>
                    <a:pt x="24308" y="182622"/>
                    <a:pt x="9349" y="238718"/>
                  </a:cubicBez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>
              <a:extLst>
                <a:ext uri="{FF2B5EF4-FFF2-40B4-BE49-F238E27FC236}">
                  <a16:creationId xmlns:a16="http://schemas.microsoft.com/office/drawing/2014/main" id="{8772314C-AF03-4F6B-9030-0DD6FE9968BF}"/>
                </a:ext>
              </a:extLst>
            </p:cNvPr>
            <p:cNvSpPr/>
            <p:nvPr/>
          </p:nvSpPr>
          <p:spPr>
            <a:xfrm>
              <a:off x="6010918" y="5230213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1"/>
                    <a:pt x="775134" y="106973"/>
                    <a:pt x="503382" y="106973"/>
                  </a:cubicBezTo>
                  <a:cubicBezTo>
                    <a:pt x="232877" y="106973"/>
                    <a:pt x="12234" y="85781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>
              <a:extLst>
                <a:ext uri="{FF2B5EF4-FFF2-40B4-BE49-F238E27FC236}">
                  <a16:creationId xmlns:a16="http://schemas.microsoft.com/office/drawing/2014/main" id="{141BB261-CC4E-4FCF-B4B0-723534AE9CDB}"/>
                </a:ext>
              </a:extLst>
            </p:cNvPr>
            <p:cNvSpPr/>
            <p:nvPr/>
          </p:nvSpPr>
          <p:spPr>
            <a:xfrm>
              <a:off x="7984236" y="5172871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2"/>
                    <a:pt x="775134" y="106973"/>
                    <a:pt x="503382" y="106973"/>
                  </a:cubicBezTo>
                  <a:cubicBezTo>
                    <a:pt x="232876" y="106973"/>
                    <a:pt x="12234" y="85782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2" name="任意多边形: 形状 9991">
              <a:extLst>
                <a:ext uri="{FF2B5EF4-FFF2-40B4-BE49-F238E27FC236}">
                  <a16:creationId xmlns:a16="http://schemas.microsoft.com/office/drawing/2014/main" id="{F73544D2-8038-4F12-9A52-A7D5BD5A739C}"/>
                </a:ext>
              </a:extLst>
            </p:cNvPr>
            <p:cNvSpPr/>
            <p:nvPr/>
          </p:nvSpPr>
          <p:spPr>
            <a:xfrm>
              <a:off x="8393501" y="3045371"/>
              <a:ext cx="211917" cy="336573"/>
            </a:xfrm>
            <a:custGeom>
              <a:avLst/>
              <a:gdLst>
                <a:gd name="connsiteX0" fmla="*/ 160184 w 211916"/>
                <a:gd name="connsiteY0" fmla="*/ 9349 h 336573"/>
                <a:gd name="connsiteX1" fmla="*/ 210047 w 211916"/>
                <a:gd name="connsiteY1" fmla="*/ 143979 h 336573"/>
                <a:gd name="connsiteX2" fmla="*/ 176390 w 211916"/>
                <a:gd name="connsiteY2" fmla="*/ 217526 h 336573"/>
                <a:gd name="connsiteX3" fmla="*/ 158937 w 211916"/>
                <a:gd name="connsiteY3" fmla="*/ 223759 h 336573"/>
                <a:gd name="connsiteX4" fmla="*/ 166417 w 211916"/>
                <a:gd name="connsiteY4" fmla="*/ 322238 h 336573"/>
                <a:gd name="connsiteX5" fmla="*/ 29294 w 211916"/>
                <a:gd name="connsiteY5" fmla="*/ 332210 h 336573"/>
                <a:gd name="connsiteX6" fmla="*/ 9349 w 211916"/>
                <a:gd name="connsiteY6" fmla="*/ 55472 h 336573"/>
                <a:gd name="connsiteX7" fmla="*/ 160184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60184" y="9349"/>
                  </a:moveTo>
                  <a:lnTo>
                    <a:pt x="210047" y="143979"/>
                  </a:lnTo>
                  <a:cubicBezTo>
                    <a:pt x="221266" y="173896"/>
                    <a:pt x="206307" y="207554"/>
                    <a:pt x="176390" y="217526"/>
                  </a:cubicBezTo>
                  <a:lnTo>
                    <a:pt x="158937" y="223759"/>
                  </a:lnTo>
                  <a:lnTo>
                    <a:pt x="166417" y="322238"/>
                  </a:lnTo>
                  <a:lnTo>
                    <a:pt x="29294" y="332210"/>
                  </a:lnTo>
                  <a:lnTo>
                    <a:pt x="9349" y="55472"/>
                  </a:lnTo>
                  <a:lnTo>
                    <a:pt x="160184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>
              <a:extLst>
                <a:ext uri="{FF2B5EF4-FFF2-40B4-BE49-F238E27FC236}">
                  <a16:creationId xmlns:a16="http://schemas.microsoft.com/office/drawing/2014/main" id="{13D52A34-772C-48C4-B7C8-A15A04D9C324}"/>
                </a:ext>
              </a:extLst>
            </p:cNvPr>
            <p:cNvSpPr/>
            <p:nvPr/>
          </p:nvSpPr>
          <p:spPr>
            <a:xfrm>
              <a:off x="8327916" y="2963497"/>
              <a:ext cx="249314" cy="324108"/>
            </a:xfrm>
            <a:custGeom>
              <a:avLst/>
              <a:gdLst>
                <a:gd name="connsiteX0" fmla="*/ 220784 w 249313"/>
                <a:gd name="connsiteY0" fmla="*/ 12690 h 324107"/>
                <a:gd name="connsiteX1" fmla="*/ 159702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4441 h 324107"/>
                <a:gd name="connsiteX4" fmla="*/ 74935 w 249313"/>
                <a:gd name="connsiteY4" fmla="*/ 324332 h 324107"/>
                <a:gd name="connsiteX5" fmla="*/ 144743 w 249313"/>
                <a:gd name="connsiteY5" fmla="*/ 319345 h 324107"/>
                <a:gd name="connsiteX6" fmla="*/ 162195 w 249313"/>
                <a:gd name="connsiteY6" fmla="*/ 232086 h 324107"/>
                <a:gd name="connsiteX7" fmla="*/ 108593 w 249313"/>
                <a:gd name="connsiteY7" fmla="*/ 179730 h 324107"/>
                <a:gd name="connsiteX8" fmla="*/ 169674 w 249313"/>
                <a:gd name="connsiteY8" fmla="*/ 197182 h 324107"/>
                <a:gd name="connsiteX9" fmla="*/ 189620 w 249313"/>
                <a:gd name="connsiteY9" fmla="*/ 194689 h 324107"/>
                <a:gd name="connsiteX10" fmla="*/ 165935 w 249313"/>
                <a:gd name="connsiteY10" fmla="*/ 117401 h 324107"/>
                <a:gd name="connsiteX11" fmla="*/ 243222 w 249313"/>
                <a:gd name="connsiteY11" fmla="*/ 60059 h 324107"/>
                <a:gd name="connsiteX12" fmla="*/ 220784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20784" y="12690"/>
                  </a:moveTo>
                  <a:cubicBezTo>
                    <a:pt x="220784" y="12690"/>
                    <a:pt x="193359" y="-4762"/>
                    <a:pt x="159702" y="40114"/>
                  </a:cubicBezTo>
                  <a:cubicBezTo>
                    <a:pt x="126044" y="84991"/>
                    <a:pt x="47511" y="55073"/>
                    <a:pt x="21333" y="111169"/>
                  </a:cubicBezTo>
                  <a:cubicBezTo>
                    <a:pt x="-4845" y="167264"/>
                    <a:pt x="15100" y="233332"/>
                    <a:pt x="50004" y="284441"/>
                  </a:cubicBezTo>
                  <a:lnTo>
                    <a:pt x="74935" y="324332"/>
                  </a:lnTo>
                  <a:lnTo>
                    <a:pt x="144743" y="319345"/>
                  </a:lnTo>
                  <a:cubicBezTo>
                    <a:pt x="144743" y="319345"/>
                    <a:pt x="174661" y="250784"/>
                    <a:pt x="162195" y="232086"/>
                  </a:cubicBezTo>
                  <a:cubicBezTo>
                    <a:pt x="162195" y="232086"/>
                    <a:pt x="84908" y="220867"/>
                    <a:pt x="108593" y="179730"/>
                  </a:cubicBezTo>
                  <a:cubicBezTo>
                    <a:pt x="132277" y="138593"/>
                    <a:pt x="169674" y="197182"/>
                    <a:pt x="169674" y="197182"/>
                  </a:cubicBezTo>
                  <a:lnTo>
                    <a:pt x="189620" y="194689"/>
                  </a:lnTo>
                  <a:lnTo>
                    <a:pt x="165935" y="117401"/>
                  </a:lnTo>
                  <a:cubicBezTo>
                    <a:pt x="165935" y="117401"/>
                    <a:pt x="234496" y="103689"/>
                    <a:pt x="243222" y="60059"/>
                  </a:cubicBezTo>
                  <a:cubicBezTo>
                    <a:pt x="250701" y="15183"/>
                    <a:pt x="220784" y="12690"/>
                    <a:pt x="220784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>
              <a:extLst>
                <a:ext uri="{FF2B5EF4-FFF2-40B4-BE49-F238E27FC236}">
                  <a16:creationId xmlns:a16="http://schemas.microsoft.com/office/drawing/2014/main" id="{4D833AC4-6A7B-4736-B9C6-3E4D1F1BF189}"/>
                </a:ext>
              </a:extLst>
            </p:cNvPr>
            <p:cNvSpPr/>
            <p:nvPr/>
          </p:nvSpPr>
          <p:spPr>
            <a:xfrm>
              <a:off x="8235188" y="4326843"/>
              <a:ext cx="261779" cy="885063"/>
            </a:xfrm>
            <a:custGeom>
              <a:avLst/>
              <a:gdLst>
                <a:gd name="connsiteX0" fmla="*/ 75417 w 261779"/>
                <a:gd name="connsiteY0" fmla="*/ 9349 h 885063"/>
                <a:gd name="connsiteX1" fmla="*/ 92869 w 261779"/>
                <a:gd name="connsiteY1" fmla="*/ 208800 h 885063"/>
                <a:gd name="connsiteX2" fmla="*/ 86636 w 261779"/>
                <a:gd name="connsiteY2" fmla="*/ 380826 h 885063"/>
                <a:gd name="connsiteX3" fmla="*/ 9349 w 261779"/>
                <a:gd name="connsiteY3" fmla="*/ 875714 h 885063"/>
                <a:gd name="connsiteX4" fmla="*/ 52979 w 261779"/>
                <a:gd name="connsiteY4" fmla="*/ 875714 h 885063"/>
                <a:gd name="connsiteX5" fmla="*/ 196335 w 261779"/>
                <a:gd name="connsiteY5" fmla="*/ 494264 h 885063"/>
                <a:gd name="connsiteX6" fmla="*/ 242457 w 261779"/>
                <a:gd name="connsiteY6" fmla="*/ 273622 h 885063"/>
                <a:gd name="connsiteX7" fmla="*/ 257416 w 261779"/>
                <a:gd name="connsiteY7" fmla="*/ 10596 h 885063"/>
                <a:gd name="connsiteX8" fmla="*/ 75417 w 261779"/>
                <a:gd name="connsiteY8" fmla="*/ 10596 h 88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779" h="885063">
                  <a:moveTo>
                    <a:pt x="75417" y="9349"/>
                  </a:moveTo>
                  <a:lnTo>
                    <a:pt x="92869" y="208800"/>
                  </a:lnTo>
                  <a:cubicBezTo>
                    <a:pt x="97856" y="266142"/>
                    <a:pt x="95362" y="323484"/>
                    <a:pt x="86636" y="380826"/>
                  </a:cubicBezTo>
                  <a:lnTo>
                    <a:pt x="9349" y="875714"/>
                  </a:lnTo>
                  <a:lnTo>
                    <a:pt x="52979" y="875714"/>
                  </a:lnTo>
                  <a:lnTo>
                    <a:pt x="196335" y="494264"/>
                  </a:lnTo>
                  <a:cubicBezTo>
                    <a:pt x="222513" y="423210"/>
                    <a:pt x="238718" y="349662"/>
                    <a:pt x="242457" y="273622"/>
                  </a:cubicBezTo>
                  <a:lnTo>
                    <a:pt x="257416" y="10596"/>
                  </a:lnTo>
                  <a:lnTo>
                    <a:pt x="75417" y="10596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>
              <a:extLst>
                <a:ext uri="{FF2B5EF4-FFF2-40B4-BE49-F238E27FC236}">
                  <a16:creationId xmlns:a16="http://schemas.microsoft.com/office/drawing/2014/main" id="{AE42DF33-D89E-4693-942F-EE99C6EB4139}"/>
                </a:ext>
              </a:extLst>
            </p:cNvPr>
            <p:cNvSpPr/>
            <p:nvPr/>
          </p:nvSpPr>
          <p:spPr>
            <a:xfrm>
              <a:off x="8463309" y="4255789"/>
              <a:ext cx="199451" cy="959858"/>
            </a:xfrm>
            <a:custGeom>
              <a:avLst/>
              <a:gdLst>
                <a:gd name="connsiteX0" fmla="*/ 9349 w 199450"/>
                <a:gd name="connsiteY0" fmla="*/ 9349 h 959857"/>
                <a:gd name="connsiteX1" fmla="*/ 44253 w 199450"/>
                <a:gd name="connsiteY1" fmla="*/ 262402 h 959857"/>
                <a:gd name="connsiteX2" fmla="*/ 60459 w 199450"/>
                <a:gd name="connsiteY2" fmla="*/ 480552 h 959857"/>
                <a:gd name="connsiteX3" fmla="*/ 49240 w 199450"/>
                <a:gd name="connsiteY3" fmla="*/ 960481 h 959857"/>
                <a:gd name="connsiteX4" fmla="*/ 86637 w 199450"/>
                <a:gd name="connsiteY4" fmla="*/ 945522 h 959857"/>
                <a:gd name="connsiteX5" fmla="*/ 163924 w 199450"/>
                <a:gd name="connsiteY5" fmla="*/ 632633 h 959857"/>
                <a:gd name="connsiteX6" fmla="*/ 190102 w 199450"/>
                <a:gd name="connsiteY6" fmla="*/ 242458 h 959857"/>
                <a:gd name="connsiteX7" fmla="*/ 173896 w 199450"/>
                <a:gd name="connsiteY7" fmla="*/ 9349 h 959857"/>
                <a:gd name="connsiteX8" fmla="*/ 9349 w 199450"/>
                <a:gd name="connsiteY8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450" h="959857">
                  <a:moveTo>
                    <a:pt x="9349" y="9349"/>
                  </a:moveTo>
                  <a:lnTo>
                    <a:pt x="44253" y="262402"/>
                  </a:lnTo>
                  <a:cubicBezTo>
                    <a:pt x="56719" y="334704"/>
                    <a:pt x="61705" y="407004"/>
                    <a:pt x="60459" y="480552"/>
                  </a:cubicBezTo>
                  <a:lnTo>
                    <a:pt x="49240" y="960481"/>
                  </a:lnTo>
                  <a:lnTo>
                    <a:pt x="86637" y="945522"/>
                  </a:lnTo>
                  <a:lnTo>
                    <a:pt x="163924" y="632633"/>
                  </a:lnTo>
                  <a:cubicBezTo>
                    <a:pt x="195088" y="505483"/>
                    <a:pt x="203814" y="373347"/>
                    <a:pt x="190102" y="242458"/>
                  </a:cubicBezTo>
                  <a:lnTo>
                    <a:pt x="173896" y="9349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6" name="任意多边形: 形状 9995">
              <a:extLst>
                <a:ext uri="{FF2B5EF4-FFF2-40B4-BE49-F238E27FC236}">
                  <a16:creationId xmlns:a16="http://schemas.microsoft.com/office/drawing/2014/main" id="{06DAFDF5-2A1E-40C1-80F5-2B775FD600CB}"/>
                </a:ext>
              </a:extLst>
            </p:cNvPr>
            <p:cNvSpPr/>
            <p:nvPr/>
          </p:nvSpPr>
          <p:spPr>
            <a:xfrm>
              <a:off x="8235579" y="3162548"/>
              <a:ext cx="959858" cy="1383691"/>
            </a:xfrm>
            <a:custGeom>
              <a:avLst/>
              <a:gdLst>
                <a:gd name="connsiteX0" fmla="*/ 198436 w 959857"/>
                <a:gd name="connsiteY0" fmla="*/ 212540 h 1383690"/>
                <a:gd name="connsiteX1" fmla="*/ 107437 w 959857"/>
                <a:gd name="connsiteY1" fmla="*/ 362128 h 1383690"/>
                <a:gd name="connsiteX2" fmla="*/ 166026 w 959857"/>
                <a:gd name="connsiteY2" fmla="*/ 633880 h 1383690"/>
                <a:gd name="connsiteX3" fmla="*/ 21424 w 959857"/>
                <a:gd name="connsiteY3" fmla="*/ 1196082 h 1383690"/>
                <a:gd name="connsiteX4" fmla="*/ 37629 w 959857"/>
                <a:gd name="connsiteY4" fmla="*/ 1375588 h 1383690"/>
                <a:gd name="connsiteX5" fmla="*/ 470189 w 959857"/>
                <a:gd name="connsiteY5" fmla="*/ 1375588 h 1383690"/>
                <a:gd name="connsiteX6" fmla="*/ 415340 w 959857"/>
                <a:gd name="connsiteY6" fmla="*/ 525429 h 1383690"/>
                <a:gd name="connsiteX7" fmla="*/ 429052 w 959857"/>
                <a:gd name="connsiteY7" fmla="*/ 509223 h 1383690"/>
                <a:gd name="connsiteX8" fmla="*/ 453983 w 959857"/>
                <a:gd name="connsiteY8" fmla="*/ 411991 h 1383690"/>
                <a:gd name="connsiteX9" fmla="*/ 432791 w 959857"/>
                <a:gd name="connsiteY9" fmla="*/ 303539 h 1383690"/>
                <a:gd name="connsiteX10" fmla="*/ 723242 w 959857"/>
                <a:gd name="connsiteY10" fmla="*/ 258663 h 1383690"/>
                <a:gd name="connsiteX11" fmla="*/ 958843 w 959857"/>
                <a:gd name="connsiteY11" fmla="*/ 54226 h 1383690"/>
                <a:gd name="connsiteX12" fmla="*/ 903994 w 959857"/>
                <a:gd name="connsiteY12" fmla="*/ 9349 h 1383690"/>
                <a:gd name="connsiteX13" fmla="*/ 710776 w 959857"/>
                <a:gd name="connsiteY13" fmla="*/ 152704 h 1383690"/>
                <a:gd name="connsiteX14" fmla="*/ 198436 w 959857"/>
                <a:gd name="connsiteY14" fmla="*/ 212540 h 138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59857" h="1383690">
                  <a:moveTo>
                    <a:pt x="198436" y="212540"/>
                  </a:moveTo>
                  <a:cubicBezTo>
                    <a:pt x="198436" y="212540"/>
                    <a:pt x="80012" y="185115"/>
                    <a:pt x="107437" y="362128"/>
                  </a:cubicBezTo>
                  <a:cubicBezTo>
                    <a:pt x="134862" y="539141"/>
                    <a:pt x="166026" y="633880"/>
                    <a:pt x="166026" y="633880"/>
                  </a:cubicBezTo>
                  <a:cubicBezTo>
                    <a:pt x="166026" y="633880"/>
                    <a:pt x="-42151" y="874468"/>
                    <a:pt x="21424" y="1196082"/>
                  </a:cubicBezTo>
                  <a:lnTo>
                    <a:pt x="37629" y="1375588"/>
                  </a:lnTo>
                  <a:lnTo>
                    <a:pt x="470189" y="1375588"/>
                  </a:lnTo>
                  <a:lnTo>
                    <a:pt x="415340" y="525429"/>
                  </a:lnTo>
                  <a:lnTo>
                    <a:pt x="429052" y="509223"/>
                  </a:lnTo>
                  <a:cubicBezTo>
                    <a:pt x="451490" y="481799"/>
                    <a:pt x="461462" y="446895"/>
                    <a:pt x="453983" y="411991"/>
                  </a:cubicBezTo>
                  <a:lnTo>
                    <a:pt x="432791" y="303539"/>
                  </a:lnTo>
                  <a:lnTo>
                    <a:pt x="723242" y="258663"/>
                  </a:lnTo>
                  <a:lnTo>
                    <a:pt x="958843" y="54226"/>
                  </a:lnTo>
                  <a:lnTo>
                    <a:pt x="903994" y="9349"/>
                  </a:lnTo>
                  <a:lnTo>
                    <a:pt x="710776" y="152704"/>
                  </a:lnTo>
                  <a:lnTo>
                    <a:pt x="198436" y="212540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>
              <a:extLst>
                <a:ext uri="{FF2B5EF4-FFF2-40B4-BE49-F238E27FC236}">
                  <a16:creationId xmlns:a16="http://schemas.microsoft.com/office/drawing/2014/main" id="{C4F26254-6DB3-4274-9674-6BEEE57CD4C4}"/>
                </a:ext>
              </a:extLst>
            </p:cNvPr>
            <p:cNvSpPr/>
            <p:nvPr/>
          </p:nvSpPr>
          <p:spPr>
            <a:xfrm>
              <a:off x="7816084" y="3011825"/>
              <a:ext cx="673147" cy="723010"/>
            </a:xfrm>
            <a:custGeom>
              <a:avLst/>
              <a:gdLst>
                <a:gd name="connsiteX0" fmla="*/ 637877 w 673146"/>
                <a:gd name="connsiteY0" fmla="*/ 42895 h 723009"/>
                <a:gd name="connsiteX1" fmla="*/ 621671 w 673146"/>
                <a:gd name="connsiteY1" fmla="*/ 186250 h 723009"/>
                <a:gd name="connsiteX2" fmla="*/ 640370 w 673146"/>
                <a:gd name="connsiteY2" fmla="*/ 207442 h 723009"/>
                <a:gd name="connsiteX3" fmla="*/ 671534 w 673146"/>
                <a:gd name="connsiteY3" fmla="*/ 223647 h 723009"/>
                <a:gd name="connsiteX4" fmla="*/ 630397 w 673146"/>
                <a:gd name="connsiteY4" fmla="*/ 411879 h 723009"/>
                <a:gd name="connsiteX5" fmla="*/ 614192 w 673146"/>
                <a:gd name="connsiteY5" fmla="*/ 482934 h 723009"/>
                <a:gd name="connsiteX6" fmla="*/ 531918 w 673146"/>
                <a:gd name="connsiteY6" fmla="*/ 549002 h 723009"/>
                <a:gd name="connsiteX7" fmla="*/ 462110 w 673146"/>
                <a:gd name="connsiteY7" fmla="*/ 640001 h 723009"/>
                <a:gd name="connsiteX8" fmla="*/ 308783 w 673146"/>
                <a:gd name="connsiteY8" fmla="*/ 716042 h 723009"/>
                <a:gd name="connsiteX9" fmla="*/ 101852 w 673146"/>
                <a:gd name="connsiteY9" fmla="*/ 664933 h 723009"/>
                <a:gd name="connsiteX10" fmla="*/ 9606 w 673146"/>
                <a:gd name="connsiteY10" fmla="*/ 475454 h 723009"/>
                <a:gd name="connsiteX11" fmla="*/ 211550 w 673146"/>
                <a:gd name="connsiteY11" fmla="*/ 258551 h 723009"/>
                <a:gd name="connsiteX12" fmla="*/ 343686 w 673146"/>
                <a:gd name="connsiteY12" fmla="*/ 238606 h 723009"/>
                <a:gd name="connsiteX13" fmla="*/ 443412 w 673146"/>
                <a:gd name="connsiteY13" fmla="*/ 157580 h 723009"/>
                <a:gd name="connsiteX14" fmla="*/ 457124 w 673146"/>
                <a:gd name="connsiteY14" fmla="*/ 84032 h 723009"/>
                <a:gd name="connsiteX15" fmla="*/ 641616 w 673146"/>
                <a:gd name="connsiteY15" fmla="*/ 14224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46" h="723009">
                  <a:moveTo>
                    <a:pt x="637877" y="42895"/>
                  </a:moveTo>
                  <a:cubicBezTo>
                    <a:pt x="596740" y="90265"/>
                    <a:pt x="573055" y="147607"/>
                    <a:pt x="621671" y="186250"/>
                  </a:cubicBezTo>
                  <a:cubicBezTo>
                    <a:pt x="629151" y="192483"/>
                    <a:pt x="637877" y="198716"/>
                    <a:pt x="640370" y="207442"/>
                  </a:cubicBezTo>
                  <a:cubicBezTo>
                    <a:pt x="642863" y="212428"/>
                    <a:pt x="671534" y="218661"/>
                    <a:pt x="671534" y="223647"/>
                  </a:cubicBezTo>
                  <a:cubicBezTo>
                    <a:pt x="667794" y="285976"/>
                    <a:pt x="634137" y="349551"/>
                    <a:pt x="630397" y="411879"/>
                  </a:cubicBezTo>
                  <a:cubicBezTo>
                    <a:pt x="629151" y="436811"/>
                    <a:pt x="626657" y="461742"/>
                    <a:pt x="614192" y="482934"/>
                  </a:cubicBezTo>
                  <a:cubicBezTo>
                    <a:pt x="595493" y="512851"/>
                    <a:pt x="558096" y="525317"/>
                    <a:pt x="531918" y="549002"/>
                  </a:cubicBezTo>
                  <a:cubicBezTo>
                    <a:pt x="503247" y="573933"/>
                    <a:pt x="487042" y="610084"/>
                    <a:pt x="462110" y="640001"/>
                  </a:cubicBezTo>
                  <a:cubicBezTo>
                    <a:pt x="423467" y="683631"/>
                    <a:pt x="367371" y="708562"/>
                    <a:pt x="308783" y="716042"/>
                  </a:cubicBezTo>
                  <a:cubicBezTo>
                    <a:pt x="236482" y="724768"/>
                    <a:pt x="160441" y="708562"/>
                    <a:pt x="101852" y="664933"/>
                  </a:cubicBezTo>
                  <a:cubicBezTo>
                    <a:pt x="43264" y="621303"/>
                    <a:pt x="5867" y="549002"/>
                    <a:pt x="9606" y="475454"/>
                  </a:cubicBezTo>
                  <a:cubicBezTo>
                    <a:pt x="14592" y="369496"/>
                    <a:pt x="108085" y="280990"/>
                    <a:pt x="211550" y="258551"/>
                  </a:cubicBezTo>
                  <a:cubicBezTo>
                    <a:pt x="255180" y="249825"/>
                    <a:pt x="301303" y="249825"/>
                    <a:pt x="343686" y="238606"/>
                  </a:cubicBezTo>
                  <a:cubicBezTo>
                    <a:pt x="387316" y="227387"/>
                    <a:pt x="430946" y="199963"/>
                    <a:pt x="443412" y="157580"/>
                  </a:cubicBezTo>
                  <a:cubicBezTo>
                    <a:pt x="450891" y="133895"/>
                    <a:pt x="447152" y="107717"/>
                    <a:pt x="457124" y="84032"/>
                  </a:cubicBezTo>
                  <a:cubicBezTo>
                    <a:pt x="457124" y="84032"/>
                    <a:pt x="482055" y="-13200"/>
                    <a:pt x="641616" y="14224"/>
                  </a:cubicBez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>
              <a:extLst>
                <a:ext uri="{FF2B5EF4-FFF2-40B4-BE49-F238E27FC236}">
                  <a16:creationId xmlns:a16="http://schemas.microsoft.com/office/drawing/2014/main" id="{EA83162C-E9C0-463F-8DD7-A9B5CE600DAF}"/>
                </a:ext>
              </a:extLst>
            </p:cNvPr>
            <p:cNvSpPr/>
            <p:nvPr/>
          </p:nvSpPr>
          <p:spPr>
            <a:xfrm>
              <a:off x="8227708" y="5190715"/>
              <a:ext cx="162054" cy="49863"/>
            </a:xfrm>
            <a:custGeom>
              <a:avLst/>
              <a:gdLst>
                <a:gd name="connsiteX0" fmla="*/ 71678 w 162053"/>
                <a:gd name="connsiteY0" fmla="*/ 9349 h 49862"/>
                <a:gd name="connsiteX1" fmla="*/ 155198 w 162053"/>
                <a:gd name="connsiteY1" fmla="*/ 39267 h 49862"/>
                <a:gd name="connsiteX2" fmla="*/ 9349 w 162053"/>
                <a:gd name="connsiteY2" fmla="*/ 30541 h 49862"/>
                <a:gd name="connsiteX3" fmla="*/ 11843 w 162053"/>
                <a:gd name="connsiteY3" fmla="*/ 1184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71678" y="9349"/>
                  </a:moveTo>
                  <a:cubicBezTo>
                    <a:pt x="71678" y="9349"/>
                    <a:pt x="151458" y="21815"/>
                    <a:pt x="155198" y="39267"/>
                  </a:cubicBezTo>
                  <a:cubicBezTo>
                    <a:pt x="158937" y="55472"/>
                    <a:pt x="9349" y="30541"/>
                    <a:pt x="9349" y="30541"/>
                  </a:cubicBezTo>
                  <a:lnTo>
                    <a:pt x="11843" y="11843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>
              <a:extLst>
                <a:ext uri="{FF2B5EF4-FFF2-40B4-BE49-F238E27FC236}">
                  <a16:creationId xmlns:a16="http://schemas.microsoft.com/office/drawing/2014/main" id="{863C2EB7-73DE-4B0B-9945-479EAA699BB8}"/>
                </a:ext>
              </a:extLst>
            </p:cNvPr>
            <p:cNvSpPr/>
            <p:nvPr/>
          </p:nvSpPr>
          <p:spPr>
            <a:xfrm>
              <a:off x="8499460" y="5188222"/>
              <a:ext cx="162054" cy="49863"/>
            </a:xfrm>
            <a:custGeom>
              <a:avLst/>
              <a:gdLst>
                <a:gd name="connsiteX0" fmla="*/ 51733 w 162053"/>
                <a:gd name="connsiteY0" fmla="*/ 9349 h 49862"/>
                <a:gd name="connsiteX1" fmla="*/ 153951 w 162053"/>
                <a:gd name="connsiteY1" fmla="*/ 30541 h 49862"/>
                <a:gd name="connsiteX2" fmla="*/ 9349 w 162053"/>
                <a:gd name="connsiteY2" fmla="*/ 43007 h 49862"/>
                <a:gd name="connsiteX3" fmla="*/ 9349 w 162053"/>
                <a:gd name="connsiteY3" fmla="*/ 2430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51733" y="9349"/>
                  </a:moveTo>
                  <a:cubicBezTo>
                    <a:pt x="51733" y="9349"/>
                    <a:pt x="148965" y="14336"/>
                    <a:pt x="153951" y="30541"/>
                  </a:cubicBezTo>
                  <a:cubicBezTo>
                    <a:pt x="160184" y="46746"/>
                    <a:pt x="9349" y="43007"/>
                    <a:pt x="9349" y="43007"/>
                  </a:cubicBezTo>
                  <a:lnTo>
                    <a:pt x="9349" y="24308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>
              <a:extLst>
                <a:ext uri="{FF2B5EF4-FFF2-40B4-BE49-F238E27FC236}">
                  <a16:creationId xmlns:a16="http://schemas.microsoft.com/office/drawing/2014/main" id="{84DE9FAC-08DC-4847-9088-920B72AEF75B}"/>
                </a:ext>
              </a:extLst>
            </p:cNvPr>
            <p:cNvSpPr/>
            <p:nvPr/>
          </p:nvSpPr>
          <p:spPr>
            <a:xfrm>
              <a:off x="8283804" y="3976557"/>
              <a:ext cx="398902" cy="62328"/>
            </a:xfrm>
            <a:custGeom>
              <a:avLst/>
              <a:gdLst>
                <a:gd name="connsiteX0" fmla="*/ 9349 w 398901"/>
                <a:gd name="connsiteY0" fmla="*/ 9349 h 62328"/>
                <a:gd name="connsiteX1" fmla="*/ 389553 w 398901"/>
                <a:gd name="connsiteY1" fmla="*/ 55472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901" h="62328">
                  <a:moveTo>
                    <a:pt x="9349" y="9349"/>
                  </a:moveTo>
                  <a:lnTo>
                    <a:pt x="389553" y="55472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1" name="任意多边形: 形状 10000">
              <a:extLst>
                <a:ext uri="{FF2B5EF4-FFF2-40B4-BE49-F238E27FC236}">
                  <a16:creationId xmlns:a16="http://schemas.microsoft.com/office/drawing/2014/main" id="{F9198C65-EF68-44A8-80D7-9C027A15D425}"/>
                </a:ext>
              </a:extLst>
            </p:cNvPr>
            <p:cNvSpPr/>
            <p:nvPr/>
          </p:nvSpPr>
          <p:spPr>
            <a:xfrm>
              <a:off x="8283804" y="3976439"/>
              <a:ext cx="398902" cy="62328"/>
            </a:xfrm>
            <a:custGeom>
              <a:avLst/>
              <a:gdLst>
                <a:gd name="connsiteX0" fmla="*/ 389553 w 398901"/>
                <a:gd name="connsiteY0" fmla="*/ 55591 h 62328"/>
                <a:gd name="connsiteX1" fmla="*/ 198828 w 398901"/>
                <a:gd name="connsiteY1" fmla="*/ 35646 h 62328"/>
                <a:gd name="connsiteX2" fmla="*/ 9349 w 398901"/>
                <a:gd name="connsiteY2" fmla="*/ 9468 h 62328"/>
                <a:gd name="connsiteX3" fmla="*/ 200074 w 398901"/>
                <a:gd name="connsiteY3" fmla="*/ 29413 h 62328"/>
                <a:gd name="connsiteX4" fmla="*/ 389553 w 398901"/>
                <a:gd name="connsiteY4" fmla="*/ 55591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901" h="62328">
                  <a:moveTo>
                    <a:pt x="389553" y="55591"/>
                  </a:moveTo>
                  <a:cubicBezTo>
                    <a:pt x="389553" y="56837"/>
                    <a:pt x="303539" y="48111"/>
                    <a:pt x="198828" y="35646"/>
                  </a:cubicBezTo>
                  <a:cubicBezTo>
                    <a:pt x="94116" y="23180"/>
                    <a:pt x="9349" y="10714"/>
                    <a:pt x="9349" y="9468"/>
                  </a:cubicBezTo>
                  <a:cubicBezTo>
                    <a:pt x="9349" y="8221"/>
                    <a:pt x="95362" y="16947"/>
                    <a:pt x="200074" y="29413"/>
                  </a:cubicBezTo>
                  <a:cubicBezTo>
                    <a:pt x="304786" y="41879"/>
                    <a:pt x="389553" y="54344"/>
                    <a:pt x="389553" y="5559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2" name="任意多边形: 形状 10001">
              <a:extLst>
                <a:ext uri="{FF2B5EF4-FFF2-40B4-BE49-F238E27FC236}">
                  <a16:creationId xmlns:a16="http://schemas.microsoft.com/office/drawing/2014/main" id="{81B2D937-5906-412E-9ECD-9B95F45A0401}"/>
                </a:ext>
              </a:extLst>
            </p:cNvPr>
            <p:cNvSpPr/>
            <p:nvPr/>
          </p:nvSpPr>
          <p:spPr>
            <a:xfrm>
              <a:off x="8392255" y="3762439"/>
              <a:ext cx="124657" cy="37397"/>
            </a:xfrm>
            <a:custGeom>
              <a:avLst/>
              <a:gdLst>
                <a:gd name="connsiteX0" fmla="*/ 115308 w 124656"/>
                <a:gd name="connsiteY0" fmla="*/ 10305 h 37397"/>
                <a:gd name="connsiteX1" fmla="*/ 62952 w 124656"/>
                <a:gd name="connsiteY1" fmla="*/ 22770 h 37397"/>
                <a:gd name="connsiteX2" fmla="*/ 9349 w 124656"/>
                <a:gd name="connsiteY2" fmla="*/ 29003 h 37397"/>
                <a:gd name="connsiteX3" fmla="*/ 61705 w 124656"/>
                <a:gd name="connsiteY3" fmla="*/ 16538 h 37397"/>
                <a:gd name="connsiteX4" fmla="*/ 115308 w 124656"/>
                <a:gd name="connsiteY4" fmla="*/ 10305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37397">
                  <a:moveTo>
                    <a:pt x="115308" y="10305"/>
                  </a:moveTo>
                  <a:cubicBezTo>
                    <a:pt x="115308" y="11551"/>
                    <a:pt x="91622" y="17784"/>
                    <a:pt x="62952" y="22770"/>
                  </a:cubicBezTo>
                  <a:cubicBezTo>
                    <a:pt x="33034" y="27757"/>
                    <a:pt x="9349" y="30250"/>
                    <a:pt x="9349" y="29003"/>
                  </a:cubicBezTo>
                  <a:cubicBezTo>
                    <a:pt x="9349" y="27757"/>
                    <a:pt x="33034" y="21524"/>
                    <a:pt x="61705" y="16538"/>
                  </a:cubicBezTo>
                  <a:cubicBezTo>
                    <a:pt x="91622" y="10305"/>
                    <a:pt x="115308" y="7811"/>
                    <a:pt x="115308" y="10305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>
              <a:extLst>
                <a:ext uri="{FF2B5EF4-FFF2-40B4-BE49-F238E27FC236}">
                  <a16:creationId xmlns:a16="http://schemas.microsoft.com/office/drawing/2014/main" id="{0A613A44-6BE7-4B98-AADB-3F3CB875E69B}"/>
                </a:ext>
              </a:extLst>
            </p:cNvPr>
            <p:cNvSpPr/>
            <p:nvPr/>
          </p:nvSpPr>
          <p:spPr>
            <a:xfrm>
              <a:off x="8414693" y="3791598"/>
              <a:ext cx="112191" cy="24931"/>
            </a:xfrm>
            <a:custGeom>
              <a:avLst/>
              <a:gdLst>
                <a:gd name="connsiteX0" fmla="*/ 107828 w 112191"/>
                <a:gd name="connsiteY0" fmla="*/ 24776 h 24931"/>
                <a:gd name="connsiteX1" fmla="*/ 57965 w 112191"/>
                <a:gd name="connsiteY1" fmla="*/ 21036 h 24931"/>
                <a:gd name="connsiteX2" fmla="*/ 9349 w 112191"/>
                <a:gd name="connsiteY2" fmla="*/ 9817 h 24931"/>
                <a:gd name="connsiteX3" fmla="*/ 59212 w 112191"/>
                <a:gd name="connsiteY3" fmla="*/ 13557 h 24931"/>
                <a:gd name="connsiteX4" fmla="*/ 107828 w 112191"/>
                <a:gd name="connsiteY4" fmla="*/ 2477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07828" y="24776"/>
                  </a:moveTo>
                  <a:cubicBezTo>
                    <a:pt x="107828" y="26022"/>
                    <a:pt x="85390" y="24776"/>
                    <a:pt x="57965" y="21036"/>
                  </a:cubicBezTo>
                  <a:cubicBezTo>
                    <a:pt x="30541" y="17296"/>
                    <a:pt x="9349" y="12310"/>
                    <a:pt x="9349" y="9817"/>
                  </a:cubicBezTo>
                  <a:cubicBezTo>
                    <a:pt x="9349" y="8570"/>
                    <a:pt x="31787" y="9817"/>
                    <a:pt x="59212" y="13557"/>
                  </a:cubicBezTo>
                  <a:cubicBezTo>
                    <a:pt x="85390" y="17296"/>
                    <a:pt x="107828" y="22282"/>
                    <a:pt x="107828" y="247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>
              <a:extLst>
                <a:ext uri="{FF2B5EF4-FFF2-40B4-BE49-F238E27FC236}">
                  <a16:creationId xmlns:a16="http://schemas.microsoft.com/office/drawing/2014/main" id="{00917629-B49F-409C-8B38-5701DB71904E}"/>
                </a:ext>
              </a:extLst>
            </p:cNvPr>
            <p:cNvSpPr/>
            <p:nvPr/>
          </p:nvSpPr>
          <p:spPr>
            <a:xfrm>
              <a:off x="8520558" y="3440044"/>
              <a:ext cx="224382" cy="49863"/>
            </a:xfrm>
            <a:custGeom>
              <a:avLst/>
              <a:gdLst>
                <a:gd name="connsiteX0" fmla="*/ 226346 w 224382"/>
                <a:gd name="connsiteY0" fmla="*/ 9838 h 49862"/>
                <a:gd name="connsiteX1" fmla="*/ 195182 w 224382"/>
                <a:gd name="connsiteY1" fmla="*/ 17318 h 49862"/>
                <a:gd name="connsiteX2" fmla="*/ 117895 w 224382"/>
                <a:gd name="connsiteY2" fmla="*/ 31030 h 49862"/>
                <a:gd name="connsiteX3" fmla="*/ 40607 w 224382"/>
                <a:gd name="connsiteY3" fmla="*/ 42249 h 49862"/>
                <a:gd name="connsiteX4" fmla="*/ 9443 w 224382"/>
                <a:gd name="connsiteY4" fmla="*/ 49728 h 49862"/>
                <a:gd name="connsiteX5" fmla="*/ 39361 w 224382"/>
                <a:gd name="connsiteY5" fmla="*/ 37263 h 49862"/>
                <a:gd name="connsiteX6" fmla="*/ 116648 w 224382"/>
                <a:gd name="connsiteY6" fmla="*/ 23551 h 49862"/>
                <a:gd name="connsiteX7" fmla="*/ 193935 w 224382"/>
                <a:gd name="connsiteY7" fmla="*/ 12331 h 49862"/>
                <a:gd name="connsiteX8" fmla="*/ 226346 w 224382"/>
                <a:gd name="connsiteY8" fmla="*/ 983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382" h="49862">
                  <a:moveTo>
                    <a:pt x="226346" y="9838"/>
                  </a:moveTo>
                  <a:cubicBezTo>
                    <a:pt x="226346" y="11085"/>
                    <a:pt x="213880" y="13578"/>
                    <a:pt x="195182" y="17318"/>
                  </a:cubicBezTo>
                  <a:cubicBezTo>
                    <a:pt x="175237" y="21057"/>
                    <a:pt x="147812" y="26044"/>
                    <a:pt x="117895" y="31030"/>
                  </a:cubicBezTo>
                  <a:cubicBezTo>
                    <a:pt x="87977" y="36016"/>
                    <a:pt x="60553" y="39756"/>
                    <a:pt x="40607" y="42249"/>
                  </a:cubicBezTo>
                  <a:cubicBezTo>
                    <a:pt x="20662" y="44742"/>
                    <a:pt x="9443" y="50975"/>
                    <a:pt x="9443" y="49728"/>
                  </a:cubicBezTo>
                  <a:cubicBezTo>
                    <a:pt x="8197" y="48482"/>
                    <a:pt x="19416" y="41003"/>
                    <a:pt x="39361" y="37263"/>
                  </a:cubicBezTo>
                  <a:cubicBezTo>
                    <a:pt x="59306" y="33523"/>
                    <a:pt x="86731" y="28537"/>
                    <a:pt x="116648" y="23551"/>
                  </a:cubicBezTo>
                  <a:cubicBezTo>
                    <a:pt x="146566" y="18564"/>
                    <a:pt x="173990" y="14825"/>
                    <a:pt x="193935" y="12331"/>
                  </a:cubicBezTo>
                  <a:cubicBezTo>
                    <a:pt x="213880" y="9838"/>
                    <a:pt x="226346" y="8592"/>
                    <a:pt x="226346" y="983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5" name="任意多边形: 形状 10004">
              <a:extLst>
                <a:ext uri="{FF2B5EF4-FFF2-40B4-BE49-F238E27FC236}">
                  <a16:creationId xmlns:a16="http://schemas.microsoft.com/office/drawing/2014/main" id="{2796FF5A-661B-4304-AEAF-A79F815634B5}"/>
                </a:ext>
              </a:extLst>
            </p:cNvPr>
            <p:cNvSpPr/>
            <p:nvPr/>
          </p:nvSpPr>
          <p:spPr>
            <a:xfrm>
              <a:off x="8895869" y="3368232"/>
              <a:ext cx="112191" cy="62328"/>
            </a:xfrm>
            <a:custGeom>
              <a:avLst/>
              <a:gdLst>
                <a:gd name="connsiteX0" fmla="*/ 11842 w 112191"/>
                <a:gd name="connsiteY0" fmla="*/ 59212 h 62328"/>
                <a:gd name="connsiteX1" fmla="*/ 112814 w 112191"/>
                <a:gd name="connsiteY1" fmla="*/ 9349 h 62328"/>
                <a:gd name="connsiteX2" fmla="*/ 72924 w 112191"/>
                <a:gd name="connsiteY2" fmla="*/ 43007 h 62328"/>
                <a:gd name="connsiteX3" fmla="*/ 62952 w 112191"/>
                <a:gd name="connsiteY3" fmla="*/ 51733 h 62328"/>
                <a:gd name="connsiteX4" fmla="*/ 54226 w 112191"/>
                <a:gd name="connsiteY4" fmla="*/ 52979 h 62328"/>
                <a:gd name="connsiteX5" fmla="*/ 9349 w 112191"/>
                <a:gd name="connsiteY5" fmla="*/ 6045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91" h="62328">
                  <a:moveTo>
                    <a:pt x="11842" y="59212"/>
                  </a:moveTo>
                  <a:cubicBezTo>
                    <a:pt x="35527" y="28048"/>
                    <a:pt x="74171" y="13089"/>
                    <a:pt x="112814" y="9349"/>
                  </a:cubicBezTo>
                  <a:cubicBezTo>
                    <a:pt x="101595" y="21815"/>
                    <a:pt x="85390" y="31788"/>
                    <a:pt x="72924" y="43007"/>
                  </a:cubicBezTo>
                  <a:cubicBezTo>
                    <a:pt x="70431" y="45500"/>
                    <a:pt x="66691" y="50486"/>
                    <a:pt x="62952" y="51733"/>
                  </a:cubicBezTo>
                  <a:cubicBezTo>
                    <a:pt x="60459" y="52979"/>
                    <a:pt x="57965" y="51733"/>
                    <a:pt x="54226" y="52979"/>
                  </a:cubicBezTo>
                  <a:cubicBezTo>
                    <a:pt x="38020" y="56719"/>
                    <a:pt x="23062" y="56719"/>
                    <a:pt x="9349" y="6045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>
              <a:extLst>
                <a:ext uri="{FF2B5EF4-FFF2-40B4-BE49-F238E27FC236}">
                  <a16:creationId xmlns:a16="http://schemas.microsoft.com/office/drawing/2014/main" id="{09921901-D5E7-4649-BEC5-C037B0E6D77B}"/>
                </a:ext>
              </a:extLst>
            </p:cNvPr>
            <p:cNvSpPr/>
            <p:nvPr/>
          </p:nvSpPr>
          <p:spPr>
            <a:xfrm>
              <a:off x="8326082" y="3329589"/>
              <a:ext cx="137123" cy="249314"/>
            </a:xfrm>
            <a:custGeom>
              <a:avLst/>
              <a:gdLst>
                <a:gd name="connsiteX0" fmla="*/ 131618 w 137122"/>
                <a:gd name="connsiteY0" fmla="*/ 9349 h 249313"/>
                <a:gd name="connsiteX1" fmla="*/ 124139 w 137122"/>
                <a:gd name="connsiteY1" fmla="*/ 47993 h 249313"/>
                <a:gd name="connsiteX2" fmla="*/ 85495 w 137122"/>
                <a:gd name="connsiteY2" fmla="*/ 134006 h 249313"/>
                <a:gd name="connsiteX3" fmla="*/ 35632 w 137122"/>
                <a:gd name="connsiteY3" fmla="*/ 213786 h 249313"/>
                <a:gd name="connsiteX4" fmla="*/ 9454 w 137122"/>
                <a:gd name="connsiteY4" fmla="*/ 242457 h 249313"/>
                <a:gd name="connsiteX5" fmla="*/ 31893 w 137122"/>
                <a:gd name="connsiteY5" fmla="*/ 211293 h 249313"/>
                <a:gd name="connsiteX6" fmla="*/ 79262 w 137122"/>
                <a:gd name="connsiteY6" fmla="*/ 131513 h 249313"/>
                <a:gd name="connsiteX7" fmla="*/ 119153 w 137122"/>
                <a:gd name="connsiteY7" fmla="*/ 46746 h 249313"/>
                <a:gd name="connsiteX8" fmla="*/ 131618 w 137122"/>
                <a:gd name="connsiteY8" fmla="*/ 934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22" h="249313">
                  <a:moveTo>
                    <a:pt x="131618" y="9349"/>
                  </a:moveTo>
                  <a:cubicBezTo>
                    <a:pt x="132865" y="9349"/>
                    <a:pt x="132865" y="24308"/>
                    <a:pt x="124139" y="47993"/>
                  </a:cubicBezTo>
                  <a:cubicBezTo>
                    <a:pt x="115413" y="70431"/>
                    <a:pt x="101700" y="100349"/>
                    <a:pt x="85495" y="134006"/>
                  </a:cubicBezTo>
                  <a:cubicBezTo>
                    <a:pt x="69290" y="166417"/>
                    <a:pt x="50591" y="195088"/>
                    <a:pt x="35632" y="213786"/>
                  </a:cubicBezTo>
                  <a:cubicBezTo>
                    <a:pt x="20674" y="232485"/>
                    <a:pt x="9454" y="242457"/>
                    <a:pt x="9454" y="242457"/>
                  </a:cubicBezTo>
                  <a:cubicBezTo>
                    <a:pt x="8208" y="241211"/>
                    <a:pt x="18181" y="229992"/>
                    <a:pt x="31893" y="211293"/>
                  </a:cubicBezTo>
                  <a:cubicBezTo>
                    <a:pt x="45605" y="191348"/>
                    <a:pt x="63057" y="163924"/>
                    <a:pt x="79262" y="131513"/>
                  </a:cubicBezTo>
                  <a:cubicBezTo>
                    <a:pt x="95468" y="99102"/>
                    <a:pt x="109180" y="69184"/>
                    <a:pt x="119153" y="46746"/>
                  </a:cubicBezTo>
                  <a:cubicBezTo>
                    <a:pt x="129125" y="24308"/>
                    <a:pt x="130372" y="9349"/>
                    <a:pt x="13161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>
              <a:extLst>
                <a:ext uri="{FF2B5EF4-FFF2-40B4-BE49-F238E27FC236}">
                  <a16:creationId xmlns:a16="http://schemas.microsoft.com/office/drawing/2014/main" id="{5A661BB9-14DC-4419-8D03-341E1E3B9CE8}"/>
                </a:ext>
              </a:extLst>
            </p:cNvPr>
            <p:cNvSpPr/>
            <p:nvPr/>
          </p:nvSpPr>
          <p:spPr>
            <a:xfrm>
              <a:off x="8572930" y="4040133"/>
              <a:ext cx="37397" cy="511093"/>
            </a:xfrm>
            <a:custGeom>
              <a:avLst/>
              <a:gdLst>
                <a:gd name="connsiteX0" fmla="*/ 11920 w 37397"/>
                <a:gd name="connsiteY0" fmla="*/ 9349 h 511092"/>
                <a:gd name="connsiteX1" fmla="*/ 28126 w 37397"/>
                <a:gd name="connsiteY1" fmla="*/ 50423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97" h="511092">
                  <a:moveTo>
                    <a:pt x="11920" y="9349"/>
                  </a:moveTo>
                  <a:cubicBezTo>
                    <a:pt x="5687" y="175143"/>
                    <a:pt x="10674" y="340936"/>
                    <a:pt x="28126" y="504237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>
              <a:extLst>
                <a:ext uri="{FF2B5EF4-FFF2-40B4-BE49-F238E27FC236}">
                  <a16:creationId xmlns:a16="http://schemas.microsoft.com/office/drawing/2014/main" id="{FBC8775F-715D-4E88-ACC7-B8AD1561270C}"/>
                </a:ext>
              </a:extLst>
            </p:cNvPr>
            <p:cNvSpPr/>
            <p:nvPr/>
          </p:nvSpPr>
          <p:spPr>
            <a:xfrm>
              <a:off x="8570321" y="4038886"/>
              <a:ext cx="37397" cy="511093"/>
            </a:xfrm>
            <a:custGeom>
              <a:avLst/>
              <a:gdLst>
                <a:gd name="connsiteX0" fmla="*/ 31980 w 37397"/>
                <a:gd name="connsiteY0" fmla="*/ 505483 h 511092"/>
                <a:gd name="connsiteX1" fmla="*/ 28241 w 37397"/>
                <a:gd name="connsiteY1" fmla="*/ 486785 h 511092"/>
                <a:gd name="connsiteX2" fmla="*/ 22008 w 37397"/>
                <a:gd name="connsiteY2" fmla="*/ 434429 h 511092"/>
                <a:gd name="connsiteX3" fmla="*/ 10789 w 37397"/>
                <a:gd name="connsiteY3" fmla="*/ 258663 h 511092"/>
                <a:gd name="connsiteX4" fmla="*/ 10789 w 37397"/>
                <a:gd name="connsiteY4" fmla="*/ 82897 h 511092"/>
                <a:gd name="connsiteX5" fmla="*/ 13282 w 37397"/>
                <a:gd name="connsiteY5" fmla="*/ 29294 h 511092"/>
                <a:gd name="connsiteX6" fmla="*/ 15775 w 37397"/>
                <a:gd name="connsiteY6" fmla="*/ 9349 h 511092"/>
                <a:gd name="connsiteX7" fmla="*/ 15775 w 37397"/>
                <a:gd name="connsiteY7" fmla="*/ 29294 h 511092"/>
                <a:gd name="connsiteX8" fmla="*/ 15775 w 37397"/>
                <a:gd name="connsiteY8" fmla="*/ 82897 h 511092"/>
                <a:gd name="connsiteX9" fmla="*/ 18268 w 37397"/>
                <a:gd name="connsiteY9" fmla="*/ 258663 h 511092"/>
                <a:gd name="connsiteX10" fmla="*/ 28241 w 37397"/>
                <a:gd name="connsiteY10" fmla="*/ 433182 h 511092"/>
                <a:gd name="connsiteX11" fmla="*/ 31980 w 37397"/>
                <a:gd name="connsiteY11" fmla="*/ 486785 h 511092"/>
                <a:gd name="connsiteX12" fmla="*/ 31980 w 37397"/>
                <a:gd name="connsiteY12" fmla="*/ 505483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397" h="511092">
                  <a:moveTo>
                    <a:pt x="31980" y="505483"/>
                  </a:moveTo>
                  <a:cubicBezTo>
                    <a:pt x="31980" y="505483"/>
                    <a:pt x="30734" y="499250"/>
                    <a:pt x="28241" y="486785"/>
                  </a:cubicBezTo>
                  <a:cubicBezTo>
                    <a:pt x="26994" y="474319"/>
                    <a:pt x="24501" y="456867"/>
                    <a:pt x="22008" y="434429"/>
                  </a:cubicBezTo>
                  <a:cubicBezTo>
                    <a:pt x="17022" y="389553"/>
                    <a:pt x="13282" y="327224"/>
                    <a:pt x="10789" y="258663"/>
                  </a:cubicBezTo>
                  <a:cubicBezTo>
                    <a:pt x="8295" y="190102"/>
                    <a:pt x="9542" y="127773"/>
                    <a:pt x="10789" y="82897"/>
                  </a:cubicBezTo>
                  <a:cubicBezTo>
                    <a:pt x="12035" y="60459"/>
                    <a:pt x="12035" y="41760"/>
                    <a:pt x="13282" y="29294"/>
                  </a:cubicBezTo>
                  <a:cubicBezTo>
                    <a:pt x="14528" y="16829"/>
                    <a:pt x="14528" y="9349"/>
                    <a:pt x="15775" y="9349"/>
                  </a:cubicBezTo>
                  <a:cubicBezTo>
                    <a:pt x="15775" y="9349"/>
                    <a:pt x="17022" y="16829"/>
                    <a:pt x="15775" y="29294"/>
                  </a:cubicBezTo>
                  <a:cubicBezTo>
                    <a:pt x="15775" y="43006"/>
                    <a:pt x="15775" y="60459"/>
                    <a:pt x="15775" y="82897"/>
                  </a:cubicBezTo>
                  <a:cubicBezTo>
                    <a:pt x="15775" y="127773"/>
                    <a:pt x="15775" y="190102"/>
                    <a:pt x="18268" y="258663"/>
                  </a:cubicBezTo>
                  <a:cubicBezTo>
                    <a:pt x="20761" y="327224"/>
                    <a:pt x="24501" y="388306"/>
                    <a:pt x="28241" y="433182"/>
                  </a:cubicBezTo>
                  <a:cubicBezTo>
                    <a:pt x="29487" y="454374"/>
                    <a:pt x="30734" y="473072"/>
                    <a:pt x="31980" y="486785"/>
                  </a:cubicBezTo>
                  <a:cubicBezTo>
                    <a:pt x="31980" y="499250"/>
                    <a:pt x="31980" y="505483"/>
                    <a:pt x="31980" y="5054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>
              <a:extLst>
                <a:ext uri="{FF2B5EF4-FFF2-40B4-BE49-F238E27FC236}">
                  <a16:creationId xmlns:a16="http://schemas.microsoft.com/office/drawing/2014/main" id="{2D6CBB22-59E9-47EF-A395-4BA7250E51BB}"/>
                </a:ext>
              </a:extLst>
            </p:cNvPr>
            <p:cNvSpPr/>
            <p:nvPr/>
          </p:nvSpPr>
          <p:spPr>
            <a:xfrm>
              <a:off x="9130223" y="3090247"/>
              <a:ext cx="137123" cy="124657"/>
            </a:xfrm>
            <a:custGeom>
              <a:avLst/>
              <a:gdLst>
                <a:gd name="connsiteX0" fmla="*/ 18075 w 137122"/>
                <a:gd name="connsiteY0" fmla="*/ 96609 h 124656"/>
                <a:gd name="connsiteX1" fmla="*/ 61705 w 137122"/>
                <a:gd name="connsiteY1" fmla="*/ 9349 h 124656"/>
                <a:gd name="connsiteX2" fmla="*/ 61705 w 137122"/>
                <a:gd name="connsiteY2" fmla="*/ 47993 h 124656"/>
                <a:gd name="connsiteX3" fmla="*/ 107828 w 137122"/>
                <a:gd name="connsiteY3" fmla="*/ 26801 h 124656"/>
                <a:gd name="connsiteX4" fmla="*/ 85390 w 137122"/>
                <a:gd name="connsiteY4" fmla="*/ 51733 h 124656"/>
                <a:gd name="connsiteX5" fmla="*/ 126527 w 137122"/>
                <a:gd name="connsiteY5" fmla="*/ 44253 h 124656"/>
                <a:gd name="connsiteX6" fmla="*/ 89130 w 137122"/>
                <a:gd name="connsiteY6" fmla="*/ 71678 h 124656"/>
                <a:gd name="connsiteX7" fmla="*/ 130267 w 137122"/>
                <a:gd name="connsiteY7" fmla="*/ 67938 h 124656"/>
                <a:gd name="connsiteX8" fmla="*/ 126527 w 137122"/>
                <a:gd name="connsiteY8" fmla="*/ 75417 h 124656"/>
                <a:gd name="connsiteX9" fmla="*/ 96609 w 137122"/>
                <a:gd name="connsiteY9" fmla="*/ 89130 h 124656"/>
                <a:gd name="connsiteX10" fmla="*/ 114061 w 137122"/>
                <a:gd name="connsiteY10" fmla="*/ 90376 h 124656"/>
                <a:gd name="connsiteX11" fmla="*/ 120294 w 137122"/>
                <a:gd name="connsiteY11" fmla="*/ 92869 h 124656"/>
                <a:gd name="connsiteX12" fmla="*/ 116554 w 137122"/>
                <a:gd name="connsiteY12" fmla="*/ 101595 h 124656"/>
                <a:gd name="connsiteX13" fmla="*/ 87883 w 137122"/>
                <a:gd name="connsiteY13" fmla="*/ 112814 h 124656"/>
                <a:gd name="connsiteX14" fmla="*/ 52979 w 137122"/>
                <a:gd name="connsiteY14" fmla="*/ 122787 h 124656"/>
                <a:gd name="connsiteX15" fmla="*/ 50486 w 137122"/>
                <a:gd name="connsiteY15" fmla="*/ 122787 h 124656"/>
                <a:gd name="connsiteX16" fmla="*/ 47993 w 137122"/>
                <a:gd name="connsiteY16" fmla="*/ 120294 h 124656"/>
                <a:gd name="connsiteX17" fmla="*/ 9349 w 137122"/>
                <a:gd name="connsiteY17" fmla="*/ 96609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7122" h="124656">
                  <a:moveTo>
                    <a:pt x="18075" y="96609"/>
                  </a:moveTo>
                  <a:cubicBezTo>
                    <a:pt x="26801" y="65445"/>
                    <a:pt x="38021" y="31788"/>
                    <a:pt x="61705" y="9349"/>
                  </a:cubicBezTo>
                  <a:cubicBezTo>
                    <a:pt x="69185" y="20568"/>
                    <a:pt x="56719" y="35527"/>
                    <a:pt x="61705" y="47993"/>
                  </a:cubicBezTo>
                  <a:cubicBezTo>
                    <a:pt x="74171" y="35527"/>
                    <a:pt x="90376" y="23062"/>
                    <a:pt x="107828" y="26801"/>
                  </a:cubicBezTo>
                  <a:cubicBezTo>
                    <a:pt x="102842" y="36774"/>
                    <a:pt x="95362" y="46746"/>
                    <a:pt x="85390" y="51733"/>
                  </a:cubicBezTo>
                  <a:cubicBezTo>
                    <a:pt x="97856" y="45500"/>
                    <a:pt x="112815" y="39267"/>
                    <a:pt x="126527" y="44253"/>
                  </a:cubicBezTo>
                  <a:cubicBezTo>
                    <a:pt x="114061" y="54226"/>
                    <a:pt x="101595" y="62952"/>
                    <a:pt x="89130" y="71678"/>
                  </a:cubicBezTo>
                  <a:cubicBezTo>
                    <a:pt x="102842" y="69185"/>
                    <a:pt x="116554" y="67938"/>
                    <a:pt x="130267" y="67938"/>
                  </a:cubicBezTo>
                  <a:cubicBezTo>
                    <a:pt x="132759" y="70431"/>
                    <a:pt x="129020" y="74171"/>
                    <a:pt x="126527" y="75417"/>
                  </a:cubicBezTo>
                  <a:cubicBezTo>
                    <a:pt x="116554" y="81650"/>
                    <a:pt x="106582" y="85390"/>
                    <a:pt x="96609" y="89130"/>
                  </a:cubicBezTo>
                  <a:cubicBezTo>
                    <a:pt x="102842" y="89130"/>
                    <a:pt x="107828" y="90376"/>
                    <a:pt x="114061" y="90376"/>
                  </a:cubicBezTo>
                  <a:cubicBezTo>
                    <a:pt x="116554" y="90376"/>
                    <a:pt x="119048" y="90376"/>
                    <a:pt x="120294" y="92869"/>
                  </a:cubicBezTo>
                  <a:cubicBezTo>
                    <a:pt x="121540" y="95362"/>
                    <a:pt x="119048" y="99102"/>
                    <a:pt x="116554" y="101595"/>
                  </a:cubicBezTo>
                  <a:cubicBezTo>
                    <a:pt x="107828" y="107828"/>
                    <a:pt x="97856" y="110321"/>
                    <a:pt x="87883" y="112814"/>
                  </a:cubicBezTo>
                  <a:cubicBezTo>
                    <a:pt x="76664" y="116554"/>
                    <a:pt x="64198" y="119047"/>
                    <a:pt x="52979" y="122787"/>
                  </a:cubicBezTo>
                  <a:cubicBezTo>
                    <a:pt x="51733" y="122787"/>
                    <a:pt x="51733" y="122787"/>
                    <a:pt x="50486" y="122787"/>
                  </a:cubicBezTo>
                  <a:cubicBezTo>
                    <a:pt x="49240" y="122787"/>
                    <a:pt x="47993" y="121540"/>
                    <a:pt x="47993" y="120294"/>
                  </a:cubicBezTo>
                  <a:cubicBezTo>
                    <a:pt x="38021" y="109075"/>
                    <a:pt x="24308" y="100349"/>
                    <a:pt x="9349" y="9660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>
              <a:extLst>
                <a:ext uri="{FF2B5EF4-FFF2-40B4-BE49-F238E27FC236}">
                  <a16:creationId xmlns:a16="http://schemas.microsoft.com/office/drawing/2014/main" id="{CE02F99D-36C0-44A0-AEB7-9D1C87E2A511}"/>
                </a:ext>
              </a:extLst>
            </p:cNvPr>
            <p:cNvSpPr/>
            <p:nvPr/>
          </p:nvSpPr>
          <p:spPr>
            <a:xfrm>
              <a:off x="10966419" y="1186738"/>
              <a:ext cx="174520" cy="174520"/>
            </a:xfrm>
            <a:custGeom>
              <a:avLst/>
              <a:gdLst>
                <a:gd name="connsiteX0" fmla="*/ 90376 w 174519"/>
                <a:gd name="connsiteY0" fmla="*/ 9349 h 174519"/>
                <a:gd name="connsiteX1" fmla="*/ 120293 w 174519"/>
                <a:gd name="connsiteY1" fmla="*/ 61705 h 174519"/>
                <a:gd name="connsiteX2" fmla="*/ 172649 w 174519"/>
                <a:gd name="connsiteY2" fmla="*/ 90376 h 174519"/>
                <a:gd name="connsiteX3" fmla="*/ 120293 w 174519"/>
                <a:gd name="connsiteY3" fmla="*/ 120294 h 174519"/>
                <a:gd name="connsiteX4" fmla="*/ 90376 w 174519"/>
                <a:gd name="connsiteY4" fmla="*/ 172650 h 174519"/>
                <a:gd name="connsiteX5" fmla="*/ 61705 w 174519"/>
                <a:gd name="connsiteY5" fmla="*/ 120294 h 174519"/>
                <a:gd name="connsiteX6" fmla="*/ 9349 w 174519"/>
                <a:gd name="connsiteY6" fmla="*/ 90376 h 174519"/>
                <a:gd name="connsiteX7" fmla="*/ 61705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0376" y="9349"/>
                  </a:moveTo>
                  <a:lnTo>
                    <a:pt x="120293" y="61705"/>
                  </a:lnTo>
                  <a:lnTo>
                    <a:pt x="172649" y="90376"/>
                  </a:lnTo>
                  <a:lnTo>
                    <a:pt x="120293" y="120294"/>
                  </a:lnTo>
                  <a:lnTo>
                    <a:pt x="90376" y="172650"/>
                  </a:lnTo>
                  <a:lnTo>
                    <a:pt x="61705" y="120294"/>
                  </a:lnTo>
                  <a:lnTo>
                    <a:pt x="9349" y="90376"/>
                  </a:lnTo>
                  <a:lnTo>
                    <a:pt x="61705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>
              <a:extLst>
                <a:ext uri="{FF2B5EF4-FFF2-40B4-BE49-F238E27FC236}">
                  <a16:creationId xmlns:a16="http://schemas.microsoft.com/office/drawing/2014/main" id="{30738299-460C-466C-AB3D-5A83A2E9A6A6}"/>
                </a:ext>
              </a:extLst>
            </p:cNvPr>
            <p:cNvSpPr/>
            <p:nvPr/>
          </p:nvSpPr>
          <p:spPr>
            <a:xfrm>
              <a:off x="6322952" y="1104464"/>
              <a:ext cx="174520" cy="174520"/>
            </a:xfrm>
            <a:custGeom>
              <a:avLst/>
              <a:gdLst>
                <a:gd name="connsiteX0" fmla="*/ 91622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1623 h 174519"/>
                <a:gd name="connsiteX3" fmla="*/ 120294 w 174519"/>
                <a:gd name="connsiteY3" fmla="*/ 120294 h 174519"/>
                <a:gd name="connsiteX4" fmla="*/ 91622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1623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2" y="9349"/>
                  </a:moveTo>
                  <a:lnTo>
                    <a:pt x="120294" y="61705"/>
                  </a:lnTo>
                  <a:lnTo>
                    <a:pt x="173896" y="91623"/>
                  </a:lnTo>
                  <a:lnTo>
                    <a:pt x="120294" y="120294"/>
                  </a:lnTo>
                  <a:lnTo>
                    <a:pt x="91622" y="172650"/>
                  </a:lnTo>
                  <a:lnTo>
                    <a:pt x="62952" y="120294"/>
                  </a:lnTo>
                  <a:lnTo>
                    <a:pt x="9349" y="91623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>
              <a:extLst>
                <a:ext uri="{FF2B5EF4-FFF2-40B4-BE49-F238E27FC236}">
                  <a16:creationId xmlns:a16="http://schemas.microsoft.com/office/drawing/2014/main" id="{C4A22BF8-CC89-4500-B2E8-16345C9E00C3}"/>
                </a:ext>
              </a:extLst>
            </p:cNvPr>
            <p:cNvSpPr/>
            <p:nvPr/>
          </p:nvSpPr>
          <p:spPr>
            <a:xfrm>
              <a:off x="8445857" y="2102965"/>
              <a:ext cx="261779" cy="261779"/>
            </a:xfrm>
            <a:custGeom>
              <a:avLst/>
              <a:gdLst>
                <a:gd name="connsiteX0" fmla="*/ 134006 w 261779"/>
                <a:gd name="connsiteY0" fmla="*/ 9349 h 261779"/>
                <a:gd name="connsiteX1" fmla="*/ 177636 w 261779"/>
                <a:gd name="connsiteY1" fmla="*/ 90376 h 261779"/>
                <a:gd name="connsiteX2" fmla="*/ 258663 w 261779"/>
                <a:gd name="connsiteY2" fmla="*/ 135253 h 261779"/>
                <a:gd name="connsiteX3" fmla="*/ 177636 w 261779"/>
                <a:gd name="connsiteY3" fmla="*/ 178882 h 261779"/>
                <a:gd name="connsiteX4" fmla="*/ 134006 w 261779"/>
                <a:gd name="connsiteY4" fmla="*/ 259909 h 261779"/>
                <a:gd name="connsiteX5" fmla="*/ 89130 w 261779"/>
                <a:gd name="connsiteY5" fmla="*/ 178882 h 261779"/>
                <a:gd name="connsiteX6" fmla="*/ 9349 w 261779"/>
                <a:gd name="connsiteY6" fmla="*/ 135253 h 261779"/>
                <a:gd name="connsiteX7" fmla="*/ 89130 w 261779"/>
                <a:gd name="connsiteY7" fmla="*/ 90376 h 26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1779" h="261779">
                  <a:moveTo>
                    <a:pt x="134006" y="9349"/>
                  </a:moveTo>
                  <a:lnTo>
                    <a:pt x="177636" y="90376"/>
                  </a:lnTo>
                  <a:lnTo>
                    <a:pt x="258663" y="135253"/>
                  </a:lnTo>
                  <a:lnTo>
                    <a:pt x="177636" y="178882"/>
                  </a:lnTo>
                  <a:lnTo>
                    <a:pt x="134006" y="259909"/>
                  </a:lnTo>
                  <a:lnTo>
                    <a:pt x="89130" y="178882"/>
                  </a:lnTo>
                  <a:lnTo>
                    <a:pt x="9349" y="135253"/>
                  </a:lnTo>
                  <a:lnTo>
                    <a:pt x="89130" y="90376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>
              <a:extLst>
                <a:ext uri="{FF2B5EF4-FFF2-40B4-BE49-F238E27FC236}">
                  <a16:creationId xmlns:a16="http://schemas.microsoft.com/office/drawing/2014/main" id="{E8D0F08B-56DD-47EB-BAE6-82C9C392AA1A}"/>
                </a:ext>
              </a:extLst>
            </p:cNvPr>
            <p:cNvSpPr/>
            <p:nvPr/>
          </p:nvSpPr>
          <p:spPr>
            <a:xfrm>
              <a:off x="6600936" y="1470955"/>
              <a:ext cx="436299" cy="436299"/>
            </a:xfrm>
            <a:custGeom>
              <a:avLst/>
              <a:gdLst>
                <a:gd name="connsiteX0" fmla="*/ 222513 w 436298"/>
                <a:gd name="connsiteY0" fmla="*/ 9349 h 436298"/>
                <a:gd name="connsiteX1" fmla="*/ 221266 w 436298"/>
                <a:gd name="connsiteY1" fmla="*/ 11842 h 436298"/>
                <a:gd name="connsiteX2" fmla="*/ 217526 w 436298"/>
                <a:gd name="connsiteY2" fmla="*/ 19322 h 436298"/>
                <a:gd name="connsiteX3" fmla="*/ 203814 w 436298"/>
                <a:gd name="connsiteY3" fmla="*/ 46746 h 436298"/>
                <a:gd name="connsiteX4" fmla="*/ 151458 w 436298"/>
                <a:gd name="connsiteY4" fmla="*/ 145225 h 436298"/>
                <a:gd name="connsiteX5" fmla="*/ 151458 w 436298"/>
                <a:gd name="connsiteY5" fmla="*/ 145225 h 436298"/>
                <a:gd name="connsiteX6" fmla="*/ 151458 w 436298"/>
                <a:gd name="connsiteY6" fmla="*/ 145225 h 436298"/>
                <a:gd name="connsiteX7" fmla="*/ 16829 w 436298"/>
                <a:gd name="connsiteY7" fmla="*/ 220019 h 436298"/>
                <a:gd name="connsiteX8" fmla="*/ 16829 w 436298"/>
                <a:gd name="connsiteY8" fmla="*/ 215033 h 436298"/>
                <a:gd name="connsiteX9" fmla="*/ 151458 w 436298"/>
                <a:gd name="connsiteY9" fmla="*/ 288581 h 436298"/>
                <a:gd name="connsiteX10" fmla="*/ 152705 w 436298"/>
                <a:gd name="connsiteY10" fmla="*/ 288581 h 436298"/>
                <a:gd name="connsiteX11" fmla="*/ 152705 w 436298"/>
                <a:gd name="connsiteY11" fmla="*/ 289827 h 436298"/>
                <a:gd name="connsiteX12" fmla="*/ 226252 w 436298"/>
                <a:gd name="connsiteY12" fmla="*/ 424456 h 436298"/>
                <a:gd name="connsiteX13" fmla="*/ 220019 w 436298"/>
                <a:gd name="connsiteY13" fmla="*/ 424456 h 436298"/>
                <a:gd name="connsiteX14" fmla="*/ 220019 w 436298"/>
                <a:gd name="connsiteY14" fmla="*/ 424456 h 436298"/>
                <a:gd name="connsiteX15" fmla="*/ 220019 w 436298"/>
                <a:gd name="connsiteY15" fmla="*/ 424456 h 436298"/>
                <a:gd name="connsiteX16" fmla="*/ 220019 w 436298"/>
                <a:gd name="connsiteY16" fmla="*/ 424456 h 436298"/>
                <a:gd name="connsiteX17" fmla="*/ 220019 w 436298"/>
                <a:gd name="connsiteY17" fmla="*/ 424456 h 436298"/>
                <a:gd name="connsiteX18" fmla="*/ 220019 w 436298"/>
                <a:gd name="connsiteY18" fmla="*/ 424456 h 436298"/>
                <a:gd name="connsiteX19" fmla="*/ 220019 w 436298"/>
                <a:gd name="connsiteY19" fmla="*/ 423210 h 436298"/>
                <a:gd name="connsiteX20" fmla="*/ 221266 w 436298"/>
                <a:gd name="connsiteY20" fmla="*/ 420717 h 436298"/>
                <a:gd name="connsiteX21" fmla="*/ 223759 w 436298"/>
                <a:gd name="connsiteY21" fmla="*/ 416977 h 436298"/>
                <a:gd name="connsiteX22" fmla="*/ 228745 w 436298"/>
                <a:gd name="connsiteY22" fmla="*/ 408251 h 436298"/>
                <a:gd name="connsiteX23" fmla="*/ 238718 w 436298"/>
                <a:gd name="connsiteY23" fmla="*/ 390799 h 436298"/>
                <a:gd name="connsiteX24" fmla="*/ 257416 w 436298"/>
                <a:gd name="connsiteY24" fmla="*/ 357142 h 436298"/>
                <a:gd name="connsiteX25" fmla="*/ 293567 w 436298"/>
                <a:gd name="connsiteY25" fmla="*/ 291074 h 436298"/>
                <a:gd name="connsiteX26" fmla="*/ 293567 w 436298"/>
                <a:gd name="connsiteY26" fmla="*/ 289827 h 436298"/>
                <a:gd name="connsiteX27" fmla="*/ 294813 w 436298"/>
                <a:gd name="connsiteY27" fmla="*/ 289827 h 436298"/>
                <a:gd name="connsiteX28" fmla="*/ 429443 w 436298"/>
                <a:gd name="connsiteY28" fmla="*/ 216280 h 436298"/>
                <a:gd name="connsiteX29" fmla="*/ 429443 w 436298"/>
                <a:gd name="connsiteY29" fmla="*/ 221266 h 436298"/>
                <a:gd name="connsiteX30" fmla="*/ 294813 w 436298"/>
                <a:gd name="connsiteY30" fmla="*/ 146472 h 436298"/>
                <a:gd name="connsiteX31" fmla="*/ 294813 w 436298"/>
                <a:gd name="connsiteY31" fmla="*/ 146472 h 436298"/>
                <a:gd name="connsiteX32" fmla="*/ 294813 w 436298"/>
                <a:gd name="connsiteY32" fmla="*/ 146472 h 436298"/>
                <a:gd name="connsiteX33" fmla="*/ 242458 w 436298"/>
                <a:gd name="connsiteY33" fmla="*/ 47993 h 436298"/>
                <a:gd name="connsiteX34" fmla="*/ 228745 w 436298"/>
                <a:gd name="connsiteY34" fmla="*/ 20568 h 436298"/>
                <a:gd name="connsiteX35" fmla="*/ 225005 w 436298"/>
                <a:gd name="connsiteY35" fmla="*/ 13089 h 436298"/>
                <a:gd name="connsiteX36" fmla="*/ 222513 w 436298"/>
                <a:gd name="connsiteY36" fmla="*/ 9349 h 436298"/>
                <a:gd name="connsiteX37" fmla="*/ 227499 w 436298"/>
                <a:gd name="connsiteY37" fmla="*/ 18075 h 436298"/>
                <a:gd name="connsiteX38" fmla="*/ 242458 w 436298"/>
                <a:gd name="connsiteY38" fmla="*/ 44253 h 436298"/>
                <a:gd name="connsiteX39" fmla="*/ 298553 w 436298"/>
                <a:gd name="connsiteY39" fmla="*/ 142732 h 436298"/>
                <a:gd name="connsiteX40" fmla="*/ 297307 w 436298"/>
                <a:gd name="connsiteY40" fmla="*/ 141485 h 436298"/>
                <a:gd name="connsiteX41" fmla="*/ 431936 w 436298"/>
                <a:gd name="connsiteY41" fmla="*/ 215033 h 436298"/>
                <a:gd name="connsiteX42" fmla="*/ 436922 w 436298"/>
                <a:gd name="connsiteY42" fmla="*/ 217526 h 436298"/>
                <a:gd name="connsiteX43" fmla="*/ 431936 w 436298"/>
                <a:gd name="connsiteY43" fmla="*/ 220019 h 436298"/>
                <a:gd name="connsiteX44" fmla="*/ 297307 w 436298"/>
                <a:gd name="connsiteY44" fmla="*/ 293567 h 436298"/>
                <a:gd name="connsiteX45" fmla="*/ 298553 w 436298"/>
                <a:gd name="connsiteY45" fmla="*/ 292320 h 436298"/>
                <a:gd name="connsiteX46" fmla="*/ 262402 w 436298"/>
                <a:gd name="connsiteY46" fmla="*/ 358388 h 436298"/>
                <a:gd name="connsiteX47" fmla="*/ 243704 w 436298"/>
                <a:gd name="connsiteY47" fmla="*/ 392046 h 436298"/>
                <a:gd name="connsiteX48" fmla="*/ 233732 w 436298"/>
                <a:gd name="connsiteY48" fmla="*/ 409498 h 436298"/>
                <a:gd name="connsiteX49" fmla="*/ 228745 w 436298"/>
                <a:gd name="connsiteY49" fmla="*/ 418224 h 436298"/>
                <a:gd name="connsiteX50" fmla="*/ 226252 w 436298"/>
                <a:gd name="connsiteY50" fmla="*/ 421963 h 436298"/>
                <a:gd name="connsiteX51" fmla="*/ 227499 w 436298"/>
                <a:gd name="connsiteY51" fmla="*/ 425703 h 436298"/>
                <a:gd name="connsiteX52" fmla="*/ 227499 w 436298"/>
                <a:gd name="connsiteY52" fmla="*/ 426950 h 436298"/>
                <a:gd name="connsiteX53" fmla="*/ 227499 w 436298"/>
                <a:gd name="connsiteY53" fmla="*/ 426950 h 436298"/>
                <a:gd name="connsiteX54" fmla="*/ 227499 w 436298"/>
                <a:gd name="connsiteY54" fmla="*/ 426950 h 436298"/>
                <a:gd name="connsiteX55" fmla="*/ 227499 w 436298"/>
                <a:gd name="connsiteY55" fmla="*/ 426950 h 436298"/>
                <a:gd name="connsiteX56" fmla="*/ 227499 w 436298"/>
                <a:gd name="connsiteY56" fmla="*/ 426950 h 436298"/>
                <a:gd name="connsiteX57" fmla="*/ 227499 w 436298"/>
                <a:gd name="connsiteY57" fmla="*/ 426950 h 436298"/>
                <a:gd name="connsiteX58" fmla="*/ 221266 w 436298"/>
                <a:gd name="connsiteY58" fmla="*/ 426950 h 436298"/>
                <a:gd name="connsiteX59" fmla="*/ 147718 w 436298"/>
                <a:gd name="connsiteY59" fmla="*/ 292320 h 436298"/>
                <a:gd name="connsiteX60" fmla="*/ 148965 w 436298"/>
                <a:gd name="connsiteY60" fmla="*/ 293567 h 436298"/>
                <a:gd name="connsiteX61" fmla="*/ 14335 w 436298"/>
                <a:gd name="connsiteY61" fmla="*/ 220019 h 436298"/>
                <a:gd name="connsiteX62" fmla="*/ 9349 w 436298"/>
                <a:gd name="connsiteY62" fmla="*/ 217526 h 436298"/>
                <a:gd name="connsiteX63" fmla="*/ 14335 w 436298"/>
                <a:gd name="connsiteY63" fmla="*/ 215033 h 436298"/>
                <a:gd name="connsiteX64" fmla="*/ 148965 w 436298"/>
                <a:gd name="connsiteY64" fmla="*/ 141485 h 436298"/>
                <a:gd name="connsiteX65" fmla="*/ 147718 w 436298"/>
                <a:gd name="connsiteY65" fmla="*/ 142732 h 436298"/>
                <a:gd name="connsiteX66" fmla="*/ 203814 w 436298"/>
                <a:gd name="connsiteY66" fmla="*/ 44253 h 436298"/>
                <a:gd name="connsiteX67" fmla="*/ 218773 w 436298"/>
                <a:gd name="connsiteY67" fmla="*/ 18075 h 436298"/>
                <a:gd name="connsiteX68" fmla="*/ 222513 w 436298"/>
                <a:gd name="connsiteY68" fmla="*/ 9349 h 43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36298" h="436298">
                  <a:moveTo>
                    <a:pt x="222513" y="9349"/>
                  </a:moveTo>
                  <a:cubicBezTo>
                    <a:pt x="222513" y="9349"/>
                    <a:pt x="222513" y="10596"/>
                    <a:pt x="221266" y="11842"/>
                  </a:cubicBezTo>
                  <a:cubicBezTo>
                    <a:pt x="220019" y="14336"/>
                    <a:pt x="218773" y="15582"/>
                    <a:pt x="217526" y="19322"/>
                  </a:cubicBezTo>
                  <a:cubicBezTo>
                    <a:pt x="213786" y="25555"/>
                    <a:pt x="208800" y="35527"/>
                    <a:pt x="203814" y="46746"/>
                  </a:cubicBezTo>
                  <a:cubicBezTo>
                    <a:pt x="191348" y="70431"/>
                    <a:pt x="173896" y="104088"/>
                    <a:pt x="151458" y="145225"/>
                  </a:cubicBezTo>
                  <a:lnTo>
                    <a:pt x="151458" y="145225"/>
                  </a:lnTo>
                  <a:lnTo>
                    <a:pt x="151458" y="145225"/>
                  </a:lnTo>
                  <a:cubicBezTo>
                    <a:pt x="114061" y="166417"/>
                    <a:pt x="67938" y="191348"/>
                    <a:pt x="16829" y="220019"/>
                  </a:cubicBezTo>
                  <a:lnTo>
                    <a:pt x="16829" y="215033"/>
                  </a:lnTo>
                  <a:cubicBezTo>
                    <a:pt x="57965" y="237471"/>
                    <a:pt x="102842" y="262403"/>
                    <a:pt x="151458" y="288581"/>
                  </a:cubicBezTo>
                  <a:lnTo>
                    <a:pt x="152705" y="288581"/>
                  </a:lnTo>
                  <a:lnTo>
                    <a:pt x="152705" y="289827"/>
                  </a:lnTo>
                  <a:cubicBezTo>
                    <a:pt x="176389" y="332210"/>
                    <a:pt x="201321" y="377087"/>
                    <a:pt x="226252" y="424456"/>
                  </a:cubicBezTo>
                  <a:cubicBezTo>
                    <a:pt x="223759" y="424456"/>
                    <a:pt x="232485" y="424456"/>
                    <a:pt x="220019" y="424456"/>
                  </a:cubicBez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3210"/>
                  </a:lnTo>
                  <a:lnTo>
                    <a:pt x="221266" y="420717"/>
                  </a:lnTo>
                  <a:lnTo>
                    <a:pt x="223759" y="416977"/>
                  </a:lnTo>
                  <a:lnTo>
                    <a:pt x="228745" y="408251"/>
                  </a:lnTo>
                  <a:cubicBezTo>
                    <a:pt x="232485" y="402018"/>
                    <a:pt x="234978" y="397032"/>
                    <a:pt x="238718" y="390799"/>
                  </a:cubicBezTo>
                  <a:cubicBezTo>
                    <a:pt x="244951" y="379580"/>
                    <a:pt x="251183" y="368361"/>
                    <a:pt x="257416" y="357142"/>
                  </a:cubicBezTo>
                  <a:cubicBezTo>
                    <a:pt x="269882" y="334704"/>
                    <a:pt x="282348" y="312265"/>
                    <a:pt x="293567" y="291074"/>
                  </a:cubicBezTo>
                  <a:lnTo>
                    <a:pt x="293567" y="289827"/>
                  </a:lnTo>
                  <a:lnTo>
                    <a:pt x="294813" y="289827"/>
                  </a:lnTo>
                  <a:cubicBezTo>
                    <a:pt x="342183" y="263649"/>
                    <a:pt x="388306" y="238718"/>
                    <a:pt x="429443" y="216280"/>
                  </a:cubicBezTo>
                  <a:lnTo>
                    <a:pt x="429443" y="221266"/>
                  </a:lnTo>
                  <a:cubicBezTo>
                    <a:pt x="378334" y="192595"/>
                    <a:pt x="333457" y="167663"/>
                    <a:pt x="294813" y="146472"/>
                  </a:cubicBezTo>
                  <a:lnTo>
                    <a:pt x="294813" y="146472"/>
                  </a:lnTo>
                  <a:lnTo>
                    <a:pt x="294813" y="146472"/>
                  </a:lnTo>
                  <a:cubicBezTo>
                    <a:pt x="272375" y="104088"/>
                    <a:pt x="254923" y="71678"/>
                    <a:pt x="242458" y="47993"/>
                  </a:cubicBezTo>
                  <a:cubicBezTo>
                    <a:pt x="236225" y="36774"/>
                    <a:pt x="231238" y="28048"/>
                    <a:pt x="228745" y="20568"/>
                  </a:cubicBezTo>
                  <a:cubicBezTo>
                    <a:pt x="227499" y="18075"/>
                    <a:pt x="226252" y="15582"/>
                    <a:pt x="225005" y="13089"/>
                  </a:cubicBezTo>
                  <a:cubicBezTo>
                    <a:pt x="223759" y="10596"/>
                    <a:pt x="222513" y="9349"/>
                    <a:pt x="222513" y="9349"/>
                  </a:cubicBezTo>
                  <a:cubicBezTo>
                    <a:pt x="222513" y="9349"/>
                    <a:pt x="223759" y="11842"/>
                    <a:pt x="227499" y="18075"/>
                  </a:cubicBezTo>
                  <a:cubicBezTo>
                    <a:pt x="231238" y="24308"/>
                    <a:pt x="236225" y="33034"/>
                    <a:pt x="242458" y="44253"/>
                  </a:cubicBezTo>
                  <a:cubicBezTo>
                    <a:pt x="256170" y="67938"/>
                    <a:pt x="274868" y="101595"/>
                    <a:pt x="298553" y="142732"/>
                  </a:cubicBezTo>
                  <a:lnTo>
                    <a:pt x="297307" y="141485"/>
                  </a:lnTo>
                  <a:cubicBezTo>
                    <a:pt x="335950" y="162677"/>
                    <a:pt x="380826" y="186362"/>
                    <a:pt x="431936" y="215033"/>
                  </a:cubicBezTo>
                  <a:lnTo>
                    <a:pt x="436922" y="217526"/>
                  </a:lnTo>
                  <a:lnTo>
                    <a:pt x="431936" y="220019"/>
                  </a:lnTo>
                  <a:cubicBezTo>
                    <a:pt x="390799" y="242458"/>
                    <a:pt x="345923" y="267389"/>
                    <a:pt x="297307" y="293567"/>
                  </a:cubicBezTo>
                  <a:lnTo>
                    <a:pt x="298553" y="292320"/>
                  </a:lnTo>
                  <a:cubicBezTo>
                    <a:pt x="287334" y="313512"/>
                    <a:pt x="274868" y="335950"/>
                    <a:pt x="262402" y="358388"/>
                  </a:cubicBezTo>
                  <a:cubicBezTo>
                    <a:pt x="256170" y="369608"/>
                    <a:pt x="249937" y="380827"/>
                    <a:pt x="243704" y="392046"/>
                  </a:cubicBezTo>
                  <a:cubicBezTo>
                    <a:pt x="239964" y="398279"/>
                    <a:pt x="237471" y="403265"/>
                    <a:pt x="233732" y="409498"/>
                  </a:cubicBezTo>
                  <a:lnTo>
                    <a:pt x="228745" y="418224"/>
                  </a:lnTo>
                  <a:lnTo>
                    <a:pt x="226252" y="421963"/>
                  </a:lnTo>
                  <a:lnTo>
                    <a:pt x="227499" y="425703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cubicBezTo>
                    <a:pt x="216280" y="426950"/>
                    <a:pt x="223759" y="426950"/>
                    <a:pt x="221266" y="426950"/>
                  </a:cubicBezTo>
                  <a:cubicBezTo>
                    <a:pt x="196335" y="379580"/>
                    <a:pt x="171403" y="334704"/>
                    <a:pt x="147718" y="292320"/>
                  </a:cubicBezTo>
                  <a:lnTo>
                    <a:pt x="148965" y="293567"/>
                  </a:lnTo>
                  <a:cubicBezTo>
                    <a:pt x="100349" y="267389"/>
                    <a:pt x="55472" y="242458"/>
                    <a:pt x="14335" y="220019"/>
                  </a:cubicBezTo>
                  <a:lnTo>
                    <a:pt x="9349" y="217526"/>
                  </a:lnTo>
                  <a:lnTo>
                    <a:pt x="14335" y="215033"/>
                  </a:lnTo>
                  <a:cubicBezTo>
                    <a:pt x="65445" y="187609"/>
                    <a:pt x="111568" y="162677"/>
                    <a:pt x="148965" y="141485"/>
                  </a:cubicBezTo>
                  <a:lnTo>
                    <a:pt x="147718" y="142732"/>
                  </a:lnTo>
                  <a:cubicBezTo>
                    <a:pt x="171403" y="100349"/>
                    <a:pt x="190102" y="67938"/>
                    <a:pt x="203814" y="44253"/>
                  </a:cubicBezTo>
                  <a:cubicBezTo>
                    <a:pt x="210047" y="33034"/>
                    <a:pt x="215033" y="24308"/>
                    <a:pt x="218773" y="18075"/>
                  </a:cubicBezTo>
                  <a:cubicBezTo>
                    <a:pt x="221266" y="11842"/>
                    <a:pt x="222513" y="9349"/>
                    <a:pt x="222513" y="9349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>
              <a:extLst>
                <a:ext uri="{FF2B5EF4-FFF2-40B4-BE49-F238E27FC236}">
                  <a16:creationId xmlns:a16="http://schemas.microsoft.com/office/drawing/2014/main" id="{676CDA2E-C325-4982-BBE2-9B0FB1138F39}"/>
                </a:ext>
              </a:extLst>
            </p:cNvPr>
            <p:cNvSpPr/>
            <p:nvPr/>
          </p:nvSpPr>
          <p:spPr>
            <a:xfrm>
              <a:off x="9565276" y="2480676"/>
              <a:ext cx="186985" cy="186985"/>
            </a:xfrm>
            <a:custGeom>
              <a:avLst/>
              <a:gdLst>
                <a:gd name="connsiteX0" fmla="*/ 92869 w 186985"/>
                <a:gd name="connsiteY0" fmla="*/ 9349 h 186985"/>
                <a:gd name="connsiteX1" fmla="*/ 122787 w 186985"/>
                <a:gd name="connsiteY1" fmla="*/ 64198 h 186985"/>
                <a:gd name="connsiteX2" fmla="*/ 177636 w 186985"/>
                <a:gd name="connsiteY2" fmla="*/ 94116 h 186985"/>
                <a:gd name="connsiteX3" fmla="*/ 122787 w 186985"/>
                <a:gd name="connsiteY3" fmla="*/ 124034 h 186985"/>
                <a:gd name="connsiteX4" fmla="*/ 92869 w 186985"/>
                <a:gd name="connsiteY4" fmla="*/ 178882 h 186985"/>
                <a:gd name="connsiteX5" fmla="*/ 62952 w 186985"/>
                <a:gd name="connsiteY5" fmla="*/ 124034 h 186985"/>
                <a:gd name="connsiteX6" fmla="*/ 9349 w 186985"/>
                <a:gd name="connsiteY6" fmla="*/ 94116 h 186985"/>
                <a:gd name="connsiteX7" fmla="*/ 62952 w 186985"/>
                <a:gd name="connsiteY7" fmla="*/ 64198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985" h="186985">
                  <a:moveTo>
                    <a:pt x="92869" y="9349"/>
                  </a:moveTo>
                  <a:lnTo>
                    <a:pt x="122787" y="64198"/>
                  </a:lnTo>
                  <a:lnTo>
                    <a:pt x="177636" y="94116"/>
                  </a:lnTo>
                  <a:lnTo>
                    <a:pt x="122787" y="124034"/>
                  </a:lnTo>
                  <a:lnTo>
                    <a:pt x="92869" y="178882"/>
                  </a:lnTo>
                  <a:lnTo>
                    <a:pt x="62952" y="124034"/>
                  </a:lnTo>
                  <a:lnTo>
                    <a:pt x="9349" y="94116"/>
                  </a:lnTo>
                  <a:lnTo>
                    <a:pt x="62952" y="64198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>
              <a:extLst>
                <a:ext uri="{FF2B5EF4-FFF2-40B4-BE49-F238E27FC236}">
                  <a16:creationId xmlns:a16="http://schemas.microsoft.com/office/drawing/2014/main" id="{4D5E91E9-850D-416B-9FE0-9169DDC5829A}"/>
                </a:ext>
              </a:extLst>
            </p:cNvPr>
            <p:cNvSpPr/>
            <p:nvPr/>
          </p:nvSpPr>
          <p:spPr>
            <a:xfrm>
              <a:off x="7959696" y="2610319"/>
              <a:ext cx="99725" cy="87260"/>
            </a:xfrm>
            <a:custGeom>
              <a:avLst/>
              <a:gdLst>
                <a:gd name="connsiteX0" fmla="*/ 49240 w 99725"/>
                <a:gd name="connsiteY0" fmla="*/ 9349 h 87259"/>
                <a:gd name="connsiteX1" fmla="*/ 64198 w 99725"/>
                <a:gd name="connsiteY1" fmla="*/ 34281 h 87259"/>
                <a:gd name="connsiteX2" fmla="*/ 90376 w 99725"/>
                <a:gd name="connsiteY2" fmla="*/ 49239 h 87259"/>
                <a:gd name="connsiteX3" fmla="*/ 64198 w 99725"/>
                <a:gd name="connsiteY3" fmla="*/ 62952 h 87259"/>
                <a:gd name="connsiteX4" fmla="*/ 49240 w 99725"/>
                <a:gd name="connsiteY4" fmla="*/ 89130 h 87259"/>
                <a:gd name="connsiteX5" fmla="*/ 35527 w 99725"/>
                <a:gd name="connsiteY5" fmla="*/ 62952 h 87259"/>
                <a:gd name="connsiteX6" fmla="*/ 9349 w 99725"/>
                <a:gd name="connsiteY6" fmla="*/ 49239 h 87259"/>
                <a:gd name="connsiteX7" fmla="*/ 35527 w 99725"/>
                <a:gd name="connsiteY7" fmla="*/ 34281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40" y="9349"/>
                  </a:moveTo>
                  <a:lnTo>
                    <a:pt x="64198" y="34281"/>
                  </a:lnTo>
                  <a:lnTo>
                    <a:pt x="90376" y="49239"/>
                  </a:lnTo>
                  <a:lnTo>
                    <a:pt x="64198" y="62952"/>
                  </a:lnTo>
                  <a:lnTo>
                    <a:pt x="49240" y="89130"/>
                  </a:lnTo>
                  <a:lnTo>
                    <a:pt x="35527" y="62952"/>
                  </a:lnTo>
                  <a:lnTo>
                    <a:pt x="9349" y="49239"/>
                  </a:lnTo>
                  <a:lnTo>
                    <a:pt x="35527" y="34281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>
              <a:extLst>
                <a:ext uri="{FF2B5EF4-FFF2-40B4-BE49-F238E27FC236}">
                  <a16:creationId xmlns:a16="http://schemas.microsoft.com/office/drawing/2014/main" id="{C8B09061-FA29-4B31-9456-4A32F3C7E299}"/>
                </a:ext>
              </a:extLst>
            </p:cNvPr>
            <p:cNvSpPr/>
            <p:nvPr/>
          </p:nvSpPr>
          <p:spPr>
            <a:xfrm>
              <a:off x="10732064" y="811521"/>
              <a:ext cx="99725" cy="87260"/>
            </a:xfrm>
            <a:custGeom>
              <a:avLst/>
              <a:gdLst>
                <a:gd name="connsiteX0" fmla="*/ 49239 w 99725"/>
                <a:gd name="connsiteY0" fmla="*/ 9349 h 87259"/>
                <a:gd name="connsiteX1" fmla="*/ 64198 w 99725"/>
                <a:gd name="connsiteY1" fmla="*/ 35527 h 87259"/>
                <a:gd name="connsiteX2" fmla="*/ 90376 w 99725"/>
                <a:gd name="connsiteY2" fmla="*/ 49239 h 87259"/>
                <a:gd name="connsiteX3" fmla="*/ 64198 w 99725"/>
                <a:gd name="connsiteY3" fmla="*/ 64198 h 87259"/>
                <a:gd name="connsiteX4" fmla="*/ 49239 w 99725"/>
                <a:gd name="connsiteY4" fmla="*/ 90376 h 87259"/>
                <a:gd name="connsiteX5" fmla="*/ 35527 w 99725"/>
                <a:gd name="connsiteY5" fmla="*/ 64198 h 87259"/>
                <a:gd name="connsiteX6" fmla="*/ 9349 w 99725"/>
                <a:gd name="connsiteY6" fmla="*/ 49239 h 87259"/>
                <a:gd name="connsiteX7" fmla="*/ 35527 w 99725"/>
                <a:gd name="connsiteY7" fmla="*/ 35527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39" y="9349"/>
                  </a:moveTo>
                  <a:lnTo>
                    <a:pt x="64198" y="35527"/>
                  </a:lnTo>
                  <a:lnTo>
                    <a:pt x="90376" y="49239"/>
                  </a:lnTo>
                  <a:lnTo>
                    <a:pt x="64198" y="64198"/>
                  </a:lnTo>
                  <a:lnTo>
                    <a:pt x="49239" y="90376"/>
                  </a:lnTo>
                  <a:lnTo>
                    <a:pt x="35527" y="64198"/>
                  </a:lnTo>
                  <a:lnTo>
                    <a:pt x="9349" y="49239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>
              <a:extLst>
                <a:ext uri="{FF2B5EF4-FFF2-40B4-BE49-F238E27FC236}">
                  <a16:creationId xmlns:a16="http://schemas.microsoft.com/office/drawing/2014/main" id="{D2C38F1F-1A4F-4060-9B9E-843107EE1A26}"/>
                </a:ext>
              </a:extLst>
            </p:cNvPr>
            <p:cNvSpPr/>
            <p:nvPr/>
          </p:nvSpPr>
          <p:spPr>
            <a:xfrm>
              <a:off x="7567027" y="1350038"/>
              <a:ext cx="99725" cy="99725"/>
            </a:xfrm>
            <a:custGeom>
              <a:avLst/>
              <a:gdLst>
                <a:gd name="connsiteX0" fmla="*/ 50486 w 99725"/>
                <a:gd name="connsiteY0" fmla="*/ 9349 h 99725"/>
                <a:gd name="connsiteX1" fmla="*/ 64198 w 99725"/>
                <a:gd name="connsiteY1" fmla="*/ 35527 h 99725"/>
                <a:gd name="connsiteX2" fmla="*/ 90376 w 99725"/>
                <a:gd name="connsiteY2" fmla="*/ 50486 h 99725"/>
                <a:gd name="connsiteX3" fmla="*/ 64198 w 99725"/>
                <a:gd name="connsiteY3" fmla="*/ 64198 h 99725"/>
                <a:gd name="connsiteX4" fmla="*/ 50486 w 99725"/>
                <a:gd name="connsiteY4" fmla="*/ 90376 h 99725"/>
                <a:gd name="connsiteX5" fmla="*/ 35527 w 99725"/>
                <a:gd name="connsiteY5" fmla="*/ 64198 h 99725"/>
                <a:gd name="connsiteX6" fmla="*/ 9349 w 99725"/>
                <a:gd name="connsiteY6" fmla="*/ 50486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50486" y="9349"/>
                  </a:moveTo>
                  <a:lnTo>
                    <a:pt x="64198" y="35527"/>
                  </a:lnTo>
                  <a:lnTo>
                    <a:pt x="90376" y="50486"/>
                  </a:lnTo>
                  <a:lnTo>
                    <a:pt x="64198" y="64198"/>
                  </a:lnTo>
                  <a:lnTo>
                    <a:pt x="50486" y="90376"/>
                  </a:lnTo>
                  <a:lnTo>
                    <a:pt x="35527" y="64198"/>
                  </a:lnTo>
                  <a:lnTo>
                    <a:pt x="9349" y="50486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>
              <a:extLst>
                <a:ext uri="{FF2B5EF4-FFF2-40B4-BE49-F238E27FC236}">
                  <a16:creationId xmlns:a16="http://schemas.microsoft.com/office/drawing/2014/main" id="{80655C78-1750-4C7B-BA54-C88B95BE62FA}"/>
                </a:ext>
              </a:extLst>
            </p:cNvPr>
            <p:cNvSpPr/>
            <p:nvPr/>
          </p:nvSpPr>
          <p:spPr>
            <a:xfrm>
              <a:off x="7054687" y="3876832"/>
              <a:ext cx="174520" cy="174520"/>
            </a:xfrm>
            <a:custGeom>
              <a:avLst/>
              <a:gdLst>
                <a:gd name="connsiteX0" fmla="*/ 91623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0376 h 174519"/>
                <a:gd name="connsiteX3" fmla="*/ 120294 w 174519"/>
                <a:gd name="connsiteY3" fmla="*/ 120294 h 174519"/>
                <a:gd name="connsiteX4" fmla="*/ 91623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0376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3" y="9349"/>
                  </a:moveTo>
                  <a:lnTo>
                    <a:pt x="120294" y="61705"/>
                  </a:lnTo>
                  <a:lnTo>
                    <a:pt x="173896" y="90376"/>
                  </a:lnTo>
                  <a:lnTo>
                    <a:pt x="120294" y="120294"/>
                  </a:lnTo>
                  <a:lnTo>
                    <a:pt x="91623" y="172650"/>
                  </a:lnTo>
                  <a:lnTo>
                    <a:pt x="62952" y="120294"/>
                  </a:lnTo>
                  <a:lnTo>
                    <a:pt x="9349" y="90376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>
              <a:extLst>
                <a:ext uri="{FF2B5EF4-FFF2-40B4-BE49-F238E27FC236}">
                  <a16:creationId xmlns:a16="http://schemas.microsoft.com/office/drawing/2014/main" id="{49A55B87-EEC8-4A04-BC13-47922652A5B8}"/>
                </a:ext>
              </a:extLst>
            </p:cNvPr>
            <p:cNvSpPr/>
            <p:nvPr/>
          </p:nvSpPr>
          <p:spPr>
            <a:xfrm>
              <a:off x="7776450" y="4053845"/>
              <a:ext cx="99725" cy="99725"/>
            </a:xfrm>
            <a:custGeom>
              <a:avLst/>
              <a:gdLst>
                <a:gd name="connsiteX0" fmla="*/ 49240 w 99725"/>
                <a:gd name="connsiteY0" fmla="*/ 9349 h 99725"/>
                <a:gd name="connsiteX1" fmla="*/ 64199 w 99725"/>
                <a:gd name="connsiteY1" fmla="*/ 35527 h 99725"/>
                <a:gd name="connsiteX2" fmla="*/ 90376 w 99725"/>
                <a:gd name="connsiteY2" fmla="*/ 49240 h 99725"/>
                <a:gd name="connsiteX3" fmla="*/ 64199 w 99725"/>
                <a:gd name="connsiteY3" fmla="*/ 64199 h 99725"/>
                <a:gd name="connsiteX4" fmla="*/ 49240 w 99725"/>
                <a:gd name="connsiteY4" fmla="*/ 90376 h 99725"/>
                <a:gd name="connsiteX5" fmla="*/ 35527 w 99725"/>
                <a:gd name="connsiteY5" fmla="*/ 64199 h 99725"/>
                <a:gd name="connsiteX6" fmla="*/ 9349 w 99725"/>
                <a:gd name="connsiteY6" fmla="*/ 49240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49240" y="9349"/>
                  </a:moveTo>
                  <a:lnTo>
                    <a:pt x="64199" y="35527"/>
                  </a:lnTo>
                  <a:lnTo>
                    <a:pt x="90376" y="49240"/>
                  </a:lnTo>
                  <a:lnTo>
                    <a:pt x="64199" y="64199"/>
                  </a:lnTo>
                  <a:lnTo>
                    <a:pt x="49240" y="90376"/>
                  </a:lnTo>
                  <a:lnTo>
                    <a:pt x="35527" y="64199"/>
                  </a:lnTo>
                  <a:lnTo>
                    <a:pt x="9349" y="49240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>
              <a:extLst>
                <a:ext uri="{FF2B5EF4-FFF2-40B4-BE49-F238E27FC236}">
                  <a16:creationId xmlns:a16="http://schemas.microsoft.com/office/drawing/2014/main" id="{450D2DB6-A72F-48F6-B54F-4A70B117714D}"/>
                </a:ext>
              </a:extLst>
            </p:cNvPr>
            <p:cNvSpPr/>
            <p:nvPr/>
          </p:nvSpPr>
          <p:spPr>
            <a:xfrm>
              <a:off x="9181991" y="1594365"/>
              <a:ext cx="486162" cy="486162"/>
            </a:xfrm>
            <a:custGeom>
              <a:avLst/>
              <a:gdLst>
                <a:gd name="connsiteX0" fmla="*/ 479894 w 486161"/>
                <a:gd name="connsiteY0" fmla="*/ 479305 h 486161"/>
                <a:gd name="connsiteX1" fmla="*/ 479894 w 486161"/>
                <a:gd name="connsiteY1" fmla="*/ 476812 h 486161"/>
                <a:gd name="connsiteX2" fmla="*/ 479894 w 486161"/>
                <a:gd name="connsiteY2" fmla="*/ 470580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5 h 486161"/>
                <a:gd name="connsiteX27" fmla="*/ 477401 w 486161"/>
                <a:gd name="connsiteY27" fmla="*/ 479305 h 486161"/>
                <a:gd name="connsiteX28" fmla="*/ 471168 w 486161"/>
                <a:gd name="connsiteY28" fmla="*/ 479305 h 486161"/>
                <a:gd name="connsiteX29" fmla="*/ 446237 w 486161"/>
                <a:gd name="connsiteY29" fmla="*/ 479305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5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7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80 h 486161"/>
                <a:gd name="connsiteX53" fmla="*/ 481141 w 486161"/>
                <a:gd name="connsiteY53" fmla="*/ 476812 h 486161"/>
                <a:gd name="connsiteX54" fmla="*/ 479894 w 486161"/>
                <a:gd name="connsiteY54" fmla="*/ 479305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5"/>
                  </a:moveTo>
                  <a:cubicBezTo>
                    <a:pt x="479894" y="479305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80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6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9" y="15582"/>
                    <a:pt x="183211" y="15582"/>
                    <a:pt x="12431" y="15582"/>
                  </a:cubicBezTo>
                  <a:cubicBezTo>
                    <a:pt x="11185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8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4" y="478059"/>
                    <a:pt x="477401" y="478059"/>
                  </a:cubicBezTo>
                  <a:cubicBezTo>
                    <a:pt x="479894" y="479305"/>
                    <a:pt x="479894" y="479305"/>
                    <a:pt x="479894" y="479305"/>
                  </a:cubicBezTo>
                  <a:cubicBezTo>
                    <a:pt x="479894" y="479305"/>
                    <a:pt x="478648" y="479305"/>
                    <a:pt x="477401" y="479305"/>
                  </a:cubicBezTo>
                  <a:cubicBezTo>
                    <a:pt x="476154" y="479305"/>
                    <a:pt x="473661" y="479305"/>
                    <a:pt x="471168" y="479305"/>
                  </a:cubicBezTo>
                  <a:cubicBezTo>
                    <a:pt x="464935" y="479305"/>
                    <a:pt x="457456" y="479305"/>
                    <a:pt x="446237" y="479305"/>
                  </a:cubicBezTo>
                  <a:cubicBezTo>
                    <a:pt x="423798" y="479305"/>
                    <a:pt x="392634" y="479305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5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1458"/>
                    <a:pt x="482387" y="268636"/>
                    <a:pt x="482387" y="350909"/>
                  </a:cubicBezTo>
                  <a:cubicBezTo>
                    <a:pt x="482387" y="390799"/>
                    <a:pt x="482387" y="423210"/>
                    <a:pt x="481141" y="445648"/>
                  </a:cubicBezTo>
                  <a:cubicBezTo>
                    <a:pt x="481141" y="455621"/>
                    <a:pt x="481141" y="464347"/>
                    <a:pt x="481141" y="470580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81141" y="479305"/>
                    <a:pt x="481141" y="479305"/>
                    <a:pt x="479894" y="479305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>
              <a:extLst>
                <a:ext uri="{FF2B5EF4-FFF2-40B4-BE49-F238E27FC236}">
                  <a16:creationId xmlns:a16="http://schemas.microsoft.com/office/drawing/2014/main" id="{C595D1C7-DB54-4A34-A8E9-46360F6D721B}"/>
                </a:ext>
              </a:extLst>
            </p:cNvPr>
            <p:cNvSpPr/>
            <p:nvPr/>
          </p:nvSpPr>
          <p:spPr>
            <a:xfrm>
              <a:off x="7772122" y="1710296"/>
              <a:ext cx="249314" cy="249314"/>
            </a:xfrm>
            <a:custGeom>
              <a:avLst/>
              <a:gdLst>
                <a:gd name="connsiteX0" fmla="*/ 240553 w 249313"/>
                <a:gd name="connsiteY0" fmla="*/ 238718 h 249313"/>
                <a:gd name="connsiteX1" fmla="*/ 240553 w 249313"/>
                <a:gd name="connsiteY1" fmla="*/ 233732 h 249313"/>
                <a:gd name="connsiteX2" fmla="*/ 240553 w 249313"/>
                <a:gd name="connsiteY2" fmla="*/ 221266 h 249313"/>
                <a:gd name="connsiteX3" fmla="*/ 239306 w 249313"/>
                <a:gd name="connsiteY3" fmla="*/ 175143 h 249313"/>
                <a:gd name="connsiteX4" fmla="*/ 238060 w 249313"/>
                <a:gd name="connsiteY4" fmla="*/ 11842 h 249313"/>
                <a:gd name="connsiteX5" fmla="*/ 240553 w 249313"/>
                <a:gd name="connsiteY5" fmla="*/ 14335 h 249313"/>
                <a:gd name="connsiteX6" fmla="*/ 13678 w 249313"/>
                <a:gd name="connsiteY6" fmla="*/ 14335 h 249313"/>
                <a:gd name="connsiteX7" fmla="*/ 17417 w 249313"/>
                <a:gd name="connsiteY7" fmla="*/ 10596 h 249313"/>
                <a:gd name="connsiteX8" fmla="*/ 17417 w 249313"/>
                <a:gd name="connsiteY8" fmla="*/ 10596 h 249313"/>
                <a:gd name="connsiteX9" fmla="*/ 17417 w 249313"/>
                <a:gd name="connsiteY9" fmla="*/ 10596 h 249313"/>
                <a:gd name="connsiteX10" fmla="*/ 17417 w 249313"/>
                <a:gd name="connsiteY10" fmla="*/ 10596 h 249313"/>
                <a:gd name="connsiteX11" fmla="*/ 17417 w 249313"/>
                <a:gd name="connsiteY11" fmla="*/ 10596 h 249313"/>
                <a:gd name="connsiteX12" fmla="*/ 17417 w 249313"/>
                <a:gd name="connsiteY12" fmla="*/ 11842 h 249313"/>
                <a:gd name="connsiteX13" fmla="*/ 17417 w 249313"/>
                <a:gd name="connsiteY13" fmla="*/ 14335 h 249313"/>
                <a:gd name="connsiteX14" fmla="*/ 17417 w 249313"/>
                <a:gd name="connsiteY14" fmla="*/ 18075 h 249313"/>
                <a:gd name="connsiteX15" fmla="*/ 17417 w 249313"/>
                <a:gd name="connsiteY15" fmla="*/ 25555 h 249313"/>
                <a:gd name="connsiteX16" fmla="*/ 17417 w 249313"/>
                <a:gd name="connsiteY16" fmla="*/ 40513 h 249313"/>
                <a:gd name="connsiteX17" fmla="*/ 17417 w 249313"/>
                <a:gd name="connsiteY17" fmla="*/ 70431 h 249313"/>
                <a:gd name="connsiteX18" fmla="*/ 17417 w 249313"/>
                <a:gd name="connsiteY18" fmla="*/ 129020 h 249313"/>
                <a:gd name="connsiteX19" fmla="*/ 17417 w 249313"/>
                <a:gd name="connsiteY19" fmla="*/ 236225 h 249313"/>
                <a:gd name="connsiteX20" fmla="*/ 14924 w 249313"/>
                <a:gd name="connsiteY20" fmla="*/ 233732 h 249313"/>
                <a:gd name="connsiteX21" fmla="*/ 178225 w 249313"/>
                <a:gd name="connsiteY21" fmla="*/ 234978 h 249313"/>
                <a:gd name="connsiteX22" fmla="*/ 224348 w 249313"/>
                <a:gd name="connsiteY22" fmla="*/ 236225 h 249313"/>
                <a:gd name="connsiteX23" fmla="*/ 236814 w 249313"/>
                <a:gd name="connsiteY23" fmla="*/ 236225 h 249313"/>
                <a:gd name="connsiteX24" fmla="*/ 240553 w 249313"/>
                <a:gd name="connsiteY24" fmla="*/ 238718 h 249313"/>
                <a:gd name="connsiteX25" fmla="*/ 236814 w 249313"/>
                <a:gd name="connsiteY25" fmla="*/ 238718 h 249313"/>
                <a:gd name="connsiteX26" fmla="*/ 224348 w 249313"/>
                <a:gd name="connsiteY26" fmla="*/ 238718 h 249313"/>
                <a:gd name="connsiteX27" fmla="*/ 178225 w 249313"/>
                <a:gd name="connsiteY27" fmla="*/ 239964 h 249313"/>
                <a:gd name="connsiteX28" fmla="*/ 12431 w 249313"/>
                <a:gd name="connsiteY28" fmla="*/ 241211 h 249313"/>
                <a:gd name="connsiteX29" fmla="*/ 9938 w 249313"/>
                <a:gd name="connsiteY29" fmla="*/ 241211 h 249313"/>
                <a:gd name="connsiteX30" fmla="*/ 9938 w 249313"/>
                <a:gd name="connsiteY30" fmla="*/ 238718 h 249313"/>
                <a:gd name="connsiteX31" fmla="*/ 9938 w 249313"/>
                <a:gd name="connsiteY31" fmla="*/ 131513 h 249313"/>
                <a:gd name="connsiteX32" fmla="*/ 9938 w 249313"/>
                <a:gd name="connsiteY32" fmla="*/ 72924 h 249313"/>
                <a:gd name="connsiteX33" fmla="*/ 9938 w 249313"/>
                <a:gd name="connsiteY33" fmla="*/ 43007 h 249313"/>
                <a:gd name="connsiteX34" fmla="*/ 9938 w 249313"/>
                <a:gd name="connsiteY34" fmla="*/ 28048 h 249313"/>
                <a:gd name="connsiteX35" fmla="*/ 9938 w 249313"/>
                <a:gd name="connsiteY35" fmla="*/ 20568 h 249313"/>
                <a:gd name="connsiteX36" fmla="*/ 9938 w 249313"/>
                <a:gd name="connsiteY36" fmla="*/ 16829 h 249313"/>
                <a:gd name="connsiteX37" fmla="*/ 9938 w 249313"/>
                <a:gd name="connsiteY37" fmla="*/ 14335 h 249313"/>
                <a:gd name="connsiteX38" fmla="*/ 9938 w 249313"/>
                <a:gd name="connsiteY38" fmla="*/ 13089 h 249313"/>
                <a:gd name="connsiteX39" fmla="*/ 9938 w 249313"/>
                <a:gd name="connsiteY39" fmla="*/ 13089 h 249313"/>
                <a:gd name="connsiteX40" fmla="*/ 9938 w 249313"/>
                <a:gd name="connsiteY40" fmla="*/ 13089 h 249313"/>
                <a:gd name="connsiteX41" fmla="*/ 9938 w 249313"/>
                <a:gd name="connsiteY41" fmla="*/ 13089 h 249313"/>
                <a:gd name="connsiteX42" fmla="*/ 9938 w 249313"/>
                <a:gd name="connsiteY42" fmla="*/ 13089 h 249313"/>
                <a:gd name="connsiteX43" fmla="*/ 13678 w 249313"/>
                <a:gd name="connsiteY43" fmla="*/ 9349 h 249313"/>
                <a:gd name="connsiteX44" fmla="*/ 240553 w 249313"/>
                <a:gd name="connsiteY44" fmla="*/ 9349 h 249313"/>
                <a:gd name="connsiteX45" fmla="*/ 243046 w 249313"/>
                <a:gd name="connsiteY45" fmla="*/ 9349 h 249313"/>
                <a:gd name="connsiteX46" fmla="*/ 243046 w 249313"/>
                <a:gd name="connsiteY46" fmla="*/ 11842 h 249313"/>
                <a:gd name="connsiteX47" fmla="*/ 241800 w 249313"/>
                <a:gd name="connsiteY47" fmla="*/ 177636 h 249313"/>
                <a:gd name="connsiteX48" fmla="*/ 240553 w 249313"/>
                <a:gd name="connsiteY48" fmla="*/ 223759 h 249313"/>
                <a:gd name="connsiteX49" fmla="*/ 240553 w 249313"/>
                <a:gd name="connsiteY49" fmla="*/ 236225 h 249313"/>
                <a:gd name="connsiteX50" fmla="*/ 240553 w 249313"/>
                <a:gd name="connsiteY50" fmla="*/ 238718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49313" h="249313">
                  <a:moveTo>
                    <a:pt x="240553" y="238718"/>
                  </a:moveTo>
                  <a:cubicBezTo>
                    <a:pt x="240553" y="238718"/>
                    <a:pt x="240553" y="237471"/>
                    <a:pt x="240553" y="233732"/>
                  </a:cubicBezTo>
                  <a:cubicBezTo>
                    <a:pt x="240553" y="229992"/>
                    <a:pt x="240553" y="226252"/>
                    <a:pt x="240553" y="221266"/>
                  </a:cubicBezTo>
                  <a:cubicBezTo>
                    <a:pt x="240553" y="210047"/>
                    <a:pt x="240553" y="193841"/>
                    <a:pt x="239306" y="175143"/>
                  </a:cubicBezTo>
                  <a:cubicBezTo>
                    <a:pt x="239306" y="135253"/>
                    <a:pt x="238060" y="79157"/>
                    <a:pt x="238060" y="11842"/>
                  </a:cubicBezTo>
                  <a:lnTo>
                    <a:pt x="240553" y="14335"/>
                  </a:lnTo>
                  <a:cubicBezTo>
                    <a:pt x="174485" y="14335"/>
                    <a:pt x="97198" y="14335"/>
                    <a:pt x="13678" y="14335"/>
                  </a:cubicBezTo>
                  <a:cubicBezTo>
                    <a:pt x="12431" y="15582"/>
                    <a:pt x="19910" y="8103"/>
                    <a:pt x="17417" y="10596"/>
                  </a:cubicBez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1842"/>
                  </a:lnTo>
                  <a:lnTo>
                    <a:pt x="17417" y="14335"/>
                  </a:lnTo>
                  <a:lnTo>
                    <a:pt x="17417" y="18075"/>
                  </a:lnTo>
                  <a:lnTo>
                    <a:pt x="17417" y="25555"/>
                  </a:lnTo>
                  <a:cubicBezTo>
                    <a:pt x="17417" y="30541"/>
                    <a:pt x="17417" y="35527"/>
                    <a:pt x="17417" y="40513"/>
                  </a:cubicBezTo>
                  <a:cubicBezTo>
                    <a:pt x="17417" y="50486"/>
                    <a:pt x="17417" y="60458"/>
                    <a:pt x="17417" y="70431"/>
                  </a:cubicBezTo>
                  <a:cubicBezTo>
                    <a:pt x="17417" y="90376"/>
                    <a:pt x="17417" y="110321"/>
                    <a:pt x="17417" y="129020"/>
                  </a:cubicBezTo>
                  <a:cubicBezTo>
                    <a:pt x="17417" y="167663"/>
                    <a:pt x="17417" y="202567"/>
                    <a:pt x="17417" y="236225"/>
                  </a:cubicBezTo>
                  <a:lnTo>
                    <a:pt x="14924" y="233732"/>
                  </a:lnTo>
                  <a:cubicBezTo>
                    <a:pt x="82239" y="233732"/>
                    <a:pt x="138334" y="234978"/>
                    <a:pt x="178225" y="234978"/>
                  </a:cubicBezTo>
                  <a:cubicBezTo>
                    <a:pt x="198170" y="234978"/>
                    <a:pt x="213128" y="234978"/>
                    <a:pt x="224348" y="236225"/>
                  </a:cubicBezTo>
                  <a:cubicBezTo>
                    <a:pt x="229334" y="236225"/>
                    <a:pt x="233074" y="236225"/>
                    <a:pt x="236814" y="236225"/>
                  </a:cubicBezTo>
                  <a:cubicBezTo>
                    <a:pt x="238060" y="238718"/>
                    <a:pt x="240553" y="238718"/>
                    <a:pt x="240553" y="238718"/>
                  </a:cubicBezTo>
                  <a:cubicBezTo>
                    <a:pt x="240553" y="238718"/>
                    <a:pt x="239306" y="238718"/>
                    <a:pt x="236814" y="238718"/>
                  </a:cubicBezTo>
                  <a:cubicBezTo>
                    <a:pt x="233074" y="238718"/>
                    <a:pt x="229334" y="238718"/>
                    <a:pt x="224348" y="238718"/>
                  </a:cubicBezTo>
                  <a:cubicBezTo>
                    <a:pt x="213128" y="238718"/>
                    <a:pt x="198170" y="238718"/>
                    <a:pt x="178225" y="239964"/>
                  </a:cubicBezTo>
                  <a:cubicBezTo>
                    <a:pt x="137088" y="239964"/>
                    <a:pt x="80993" y="241211"/>
                    <a:pt x="12431" y="241211"/>
                  </a:cubicBezTo>
                  <a:lnTo>
                    <a:pt x="9938" y="241211"/>
                  </a:lnTo>
                  <a:lnTo>
                    <a:pt x="9938" y="238718"/>
                  </a:lnTo>
                  <a:cubicBezTo>
                    <a:pt x="9938" y="206307"/>
                    <a:pt x="9938" y="170156"/>
                    <a:pt x="9938" y="131513"/>
                  </a:cubicBezTo>
                  <a:cubicBezTo>
                    <a:pt x="9938" y="112814"/>
                    <a:pt x="9938" y="92869"/>
                    <a:pt x="9938" y="72924"/>
                  </a:cubicBezTo>
                  <a:cubicBezTo>
                    <a:pt x="9938" y="62952"/>
                    <a:pt x="9938" y="52979"/>
                    <a:pt x="9938" y="43007"/>
                  </a:cubicBezTo>
                  <a:cubicBezTo>
                    <a:pt x="9938" y="38020"/>
                    <a:pt x="9938" y="33034"/>
                    <a:pt x="9938" y="28048"/>
                  </a:cubicBezTo>
                  <a:lnTo>
                    <a:pt x="9938" y="20568"/>
                  </a:lnTo>
                  <a:lnTo>
                    <a:pt x="9938" y="16829"/>
                  </a:lnTo>
                  <a:lnTo>
                    <a:pt x="9938" y="14335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97198" y="9349"/>
                    <a:pt x="174485" y="9349"/>
                    <a:pt x="240553" y="9349"/>
                  </a:cubicBezTo>
                  <a:lnTo>
                    <a:pt x="243046" y="9349"/>
                  </a:lnTo>
                  <a:lnTo>
                    <a:pt x="243046" y="11842"/>
                  </a:lnTo>
                  <a:cubicBezTo>
                    <a:pt x="243046" y="79157"/>
                    <a:pt x="241800" y="136499"/>
                    <a:pt x="241800" y="177636"/>
                  </a:cubicBezTo>
                  <a:cubicBezTo>
                    <a:pt x="241800" y="196335"/>
                    <a:pt x="241800" y="212540"/>
                    <a:pt x="240553" y="223759"/>
                  </a:cubicBezTo>
                  <a:cubicBezTo>
                    <a:pt x="240553" y="228745"/>
                    <a:pt x="240553" y="232485"/>
                    <a:pt x="240553" y="236225"/>
                  </a:cubicBezTo>
                  <a:cubicBezTo>
                    <a:pt x="240553" y="237471"/>
                    <a:pt x="240553" y="238718"/>
                    <a:pt x="240553" y="238718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>
              <a:extLst>
                <a:ext uri="{FF2B5EF4-FFF2-40B4-BE49-F238E27FC236}">
                  <a16:creationId xmlns:a16="http://schemas.microsoft.com/office/drawing/2014/main" id="{99047E9D-EBC0-4D5C-8B8F-368BDB1D8863}"/>
                </a:ext>
              </a:extLst>
            </p:cNvPr>
            <p:cNvSpPr/>
            <p:nvPr/>
          </p:nvSpPr>
          <p:spPr>
            <a:xfrm>
              <a:off x="6759908" y="655700"/>
              <a:ext cx="486162" cy="486162"/>
            </a:xfrm>
            <a:custGeom>
              <a:avLst/>
              <a:gdLst>
                <a:gd name="connsiteX0" fmla="*/ 479894 w 486161"/>
                <a:gd name="connsiteY0" fmla="*/ 479306 h 486161"/>
                <a:gd name="connsiteX1" fmla="*/ 479894 w 486161"/>
                <a:gd name="connsiteY1" fmla="*/ 476812 h 486161"/>
                <a:gd name="connsiteX2" fmla="*/ 479894 w 486161"/>
                <a:gd name="connsiteY2" fmla="*/ 470579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6 h 486161"/>
                <a:gd name="connsiteX27" fmla="*/ 477401 w 486161"/>
                <a:gd name="connsiteY27" fmla="*/ 479306 h 486161"/>
                <a:gd name="connsiteX28" fmla="*/ 471168 w 486161"/>
                <a:gd name="connsiteY28" fmla="*/ 479306 h 486161"/>
                <a:gd name="connsiteX29" fmla="*/ 446237 w 486161"/>
                <a:gd name="connsiteY29" fmla="*/ 479306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6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8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79 h 486161"/>
                <a:gd name="connsiteX53" fmla="*/ 481141 w 486161"/>
                <a:gd name="connsiteY53" fmla="*/ 476812 h 486161"/>
                <a:gd name="connsiteX54" fmla="*/ 479894 w 486161"/>
                <a:gd name="connsiteY54" fmla="*/ 479306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6"/>
                  </a:moveTo>
                  <a:cubicBezTo>
                    <a:pt x="479894" y="479306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79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5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8" y="15582"/>
                    <a:pt x="183211" y="15582"/>
                    <a:pt x="12431" y="15582"/>
                  </a:cubicBezTo>
                  <a:cubicBezTo>
                    <a:pt x="11184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9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5" y="478059"/>
                    <a:pt x="477401" y="478059"/>
                  </a:cubicBezTo>
                  <a:cubicBezTo>
                    <a:pt x="478648" y="479306"/>
                    <a:pt x="479894" y="479306"/>
                    <a:pt x="479894" y="479306"/>
                  </a:cubicBezTo>
                  <a:cubicBezTo>
                    <a:pt x="479894" y="479306"/>
                    <a:pt x="478648" y="479306"/>
                    <a:pt x="477401" y="479306"/>
                  </a:cubicBezTo>
                  <a:cubicBezTo>
                    <a:pt x="476155" y="479306"/>
                    <a:pt x="473661" y="479306"/>
                    <a:pt x="471168" y="479306"/>
                  </a:cubicBezTo>
                  <a:cubicBezTo>
                    <a:pt x="464935" y="479306"/>
                    <a:pt x="457456" y="479306"/>
                    <a:pt x="446237" y="479306"/>
                  </a:cubicBezTo>
                  <a:cubicBezTo>
                    <a:pt x="423799" y="479306"/>
                    <a:pt x="392634" y="479306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6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2705"/>
                    <a:pt x="482388" y="268635"/>
                    <a:pt x="482388" y="350909"/>
                  </a:cubicBezTo>
                  <a:cubicBezTo>
                    <a:pt x="482388" y="390799"/>
                    <a:pt x="482388" y="423210"/>
                    <a:pt x="481141" y="445648"/>
                  </a:cubicBezTo>
                  <a:cubicBezTo>
                    <a:pt x="481141" y="455621"/>
                    <a:pt x="481141" y="464347"/>
                    <a:pt x="481141" y="470579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79894" y="479306"/>
                    <a:pt x="479894" y="479306"/>
                    <a:pt x="479894" y="479306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>
              <a:extLst>
                <a:ext uri="{FF2B5EF4-FFF2-40B4-BE49-F238E27FC236}">
                  <a16:creationId xmlns:a16="http://schemas.microsoft.com/office/drawing/2014/main" id="{CAC78FC0-7A8D-42A4-B2B8-3B8AEFA3B5DA}"/>
                </a:ext>
              </a:extLst>
            </p:cNvPr>
            <p:cNvSpPr/>
            <p:nvPr/>
          </p:nvSpPr>
          <p:spPr>
            <a:xfrm>
              <a:off x="6092994" y="2263260"/>
              <a:ext cx="199451" cy="199451"/>
            </a:xfrm>
            <a:custGeom>
              <a:avLst/>
              <a:gdLst>
                <a:gd name="connsiteX0" fmla="*/ 186951 w 199450"/>
                <a:gd name="connsiteY0" fmla="*/ 186874 h 199450"/>
                <a:gd name="connsiteX1" fmla="*/ 185704 w 199450"/>
                <a:gd name="connsiteY1" fmla="*/ 173162 h 199450"/>
                <a:gd name="connsiteX2" fmla="*/ 184457 w 199450"/>
                <a:gd name="connsiteY2" fmla="*/ 137012 h 199450"/>
                <a:gd name="connsiteX3" fmla="*/ 183211 w 199450"/>
                <a:gd name="connsiteY3" fmla="*/ 11108 h 199450"/>
                <a:gd name="connsiteX4" fmla="*/ 185704 w 199450"/>
                <a:gd name="connsiteY4" fmla="*/ 13601 h 199450"/>
                <a:gd name="connsiteX5" fmla="*/ 11184 w 199450"/>
                <a:gd name="connsiteY5" fmla="*/ 13601 h 199450"/>
                <a:gd name="connsiteX6" fmla="*/ 14924 w 199450"/>
                <a:gd name="connsiteY6" fmla="*/ 9862 h 199450"/>
                <a:gd name="connsiteX7" fmla="*/ 14924 w 199450"/>
                <a:gd name="connsiteY7" fmla="*/ 9862 h 199450"/>
                <a:gd name="connsiteX8" fmla="*/ 14924 w 199450"/>
                <a:gd name="connsiteY8" fmla="*/ 9862 h 199450"/>
                <a:gd name="connsiteX9" fmla="*/ 14924 w 199450"/>
                <a:gd name="connsiteY9" fmla="*/ 9862 h 199450"/>
                <a:gd name="connsiteX10" fmla="*/ 14924 w 199450"/>
                <a:gd name="connsiteY10" fmla="*/ 9862 h 199450"/>
                <a:gd name="connsiteX11" fmla="*/ 14924 w 199450"/>
                <a:gd name="connsiteY11" fmla="*/ 11108 h 199450"/>
                <a:gd name="connsiteX12" fmla="*/ 14924 w 199450"/>
                <a:gd name="connsiteY12" fmla="*/ 12355 h 199450"/>
                <a:gd name="connsiteX13" fmla="*/ 14924 w 199450"/>
                <a:gd name="connsiteY13" fmla="*/ 14848 h 199450"/>
                <a:gd name="connsiteX14" fmla="*/ 14924 w 199450"/>
                <a:gd name="connsiteY14" fmla="*/ 21081 h 199450"/>
                <a:gd name="connsiteX15" fmla="*/ 14924 w 199450"/>
                <a:gd name="connsiteY15" fmla="*/ 33547 h 199450"/>
                <a:gd name="connsiteX16" fmla="*/ 14924 w 199450"/>
                <a:gd name="connsiteY16" fmla="*/ 57231 h 199450"/>
                <a:gd name="connsiteX17" fmla="*/ 14924 w 199450"/>
                <a:gd name="connsiteY17" fmla="*/ 102108 h 199450"/>
                <a:gd name="connsiteX18" fmla="*/ 14924 w 199450"/>
                <a:gd name="connsiteY18" fmla="*/ 184381 h 199450"/>
                <a:gd name="connsiteX19" fmla="*/ 12431 w 199450"/>
                <a:gd name="connsiteY19" fmla="*/ 181888 h 199450"/>
                <a:gd name="connsiteX20" fmla="*/ 138334 w 199450"/>
                <a:gd name="connsiteY20" fmla="*/ 183135 h 199450"/>
                <a:gd name="connsiteX21" fmla="*/ 174485 w 199450"/>
                <a:gd name="connsiteY21" fmla="*/ 184381 h 199450"/>
                <a:gd name="connsiteX22" fmla="*/ 186951 w 199450"/>
                <a:gd name="connsiteY22" fmla="*/ 186874 h 199450"/>
                <a:gd name="connsiteX23" fmla="*/ 174485 w 199450"/>
                <a:gd name="connsiteY23" fmla="*/ 188121 h 199450"/>
                <a:gd name="connsiteX24" fmla="*/ 139581 w 199450"/>
                <a:gd name="connsiteY24" fmla="*/ 189368 h 199450"/>
                <a:gd name="connsiteX25" fmla="*/ 12431 w 199450"/>
                <a:gd name="connsiteY25" fmla="*/ 190614 h 199450"/>
                <a:gd name="connsiteX26" fmla="*/ 9938 w 199450"/>
                <a:gd name="connsiteY26" fmla="*/ 190614 h 199450"/>
                <a:gd name="connsiteX27" fmla="*/ 9938 w 199450"/>
                <a:gd name="connsiteY27" fmla="*/ 188121 h 199450"/>
                <a:gd name="connsiteX28" fmla="*/ 9938 w 199450"/>
                <a:gd name="connsiteY28" fmla="*/ 105847 h 199450"/>
                <a:gd name="connsiteX29" fmla="*/ 9938 w 199450"/>
                <a:gd name="connsiteY29" fmla="*/ 60971 h 199450"/>
                <a:gd name="connsiteX30" fmla="*/ 9938 w 199450"/>
                <a:gd name="connsiteY30" fmla="*/ 37286 h 199450"/>
                <a:gd name="connsiteX31" fmla="*/ 9938 w 199450"/>
                <a:gd name="connsiteY31" fmla="*/ 24821 h 199450"/>
                <a:gd name="connsiteX32" fmla="*/ 9938 w 199450"/>
                <a:gd name="connsiteY32" fmla="*/ 18588 h 199450"/>
                <a:gd name="connsiteX33" fmla="*/ 9938 w 199450"/>
                <a:gd name="connsiteY33" fmla="*/ 16095 h 199450"/>
                <a:gd name="connsiteX34" fmla="*/ 9938 w 199450"/>
                <a:gd name="connsiteY34" fmla="*/ 14848 h 199450"/>
                <a:gd name="connsiteX35" fmla="*/ 9938 w 199450"/>
                <a:gd name="connsiteY35" fmla="*/ 13601 h 199450"/>
                <a:gd name="connsiteX36" fmla="*/ 9938 w 199450"/>
                <a:gd name="connsiteY36" fmla="*/ 13601 h 199450"/>
                <a:gd name="connsiteX37" fmla="*/ 9938 w 199450"/>
                <a:gd name="connsiteY37" fmla="*/ 13601 h 199450"/>
                <a:gd name="connsiteX38" fmla="*/ 9938 w 199450"/>
                <a:gd name="connsiteY38" fmla="*/ 13601 h 199450"/>
                <a:gd name="connsiteX39" fmla="*/ 9938 w 199450"/>
                <a:gd name="connsiteY39" fmla="*/ 13601 h 199450"/>
                <a:gd name="connsiteX40" fmla="*/ 13678 w 199450"/>
                <a:gd name="connsiteY40" fmla="*/ 9862 h 199450"/>
                <a:gd name="connsiteX41" fmla="*/ 188197 w 199450"/>
                <a:gd name="connsiteY41" fmla="*/ 9862 h 199450"/>
                <a:gd name="connsiteX42" fmla="*/ 190690 w 199450"/>
                <a:gd name="connsiteY42" fmla="*/ 9862 h 199450"/>
                <a:gd name="connsiteX43" fmla="*/ 190690 w 199450"/>
                <a:gd name="connsiteY43" fmla="*/ 12355 h 199450"/>
                <a:gd name="connsiteX44" fmla="*/ 189444 w 199450"/>
                <a:gd name="connsiteY44" fmla="*/ 139505 h 199450"/>
                <a:gd name="connsiteX45" fmla="*/ 188197 w 199450"/>
                <a:gd name="connsiteY45" fmla="*/ 174409 h 199450"/>
                <a:gd name="connsiteX46" fmla="*/ 186951 w 199450"/>
                <a:gd name="connsiteY46" fmla="*/ 1868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9450" h="199450">
                  <a:moveTo>
                    <a:pt x="186951" y="186874"/>
                  </a:moveTo>
                  <a:cubicBezTo>
                    <a:pt x="186951" y="186874"/>
                    <a:pt x="186951" y="181888"/>
                    <a:pt x="185704" y="173162"/>
                  </a:cubicBezTo>
                  <a:cubicBezTo>
                    <a:pt x="185704" y="164436"/>
                    <a:pt x="185704" y="151971"/>
                    <a:pt x="184457" y="137012"/>
                  </a:cubicBezTo>
                  <a:cubicBezTo>
                    <a:pt x="184457" y="105847"/>
                    <a:pt x="183211" y="62218"/>
                    <a:pt x="183211" y="11108"/>
                  </a:cubicBezTo>
                  <a:lnTo>
                    <a:pt x="185704" y="13601"/>
                  </a:lnTo>
                  <a:cubicBezTo>
                    <a:pt x="134595" y="13601"/>
                    <a:pt x="74759" y="13601"/>
                    <a:pt x="11184" y="13601"/>
                  </a:cubicBezTo>
                  <a:cubicBezTo>
                    <a:pt x="9938" y="14848"/>
                    <a:pt x="17417" y="7369"/>
                    <a:pt x="14924" y="9862"/>
                  </a:cubicBez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11108"/>
                  </a:lnTo>
                  <a:lnTo>
                    <a:pt x="14924" y="12355"/>
                  </a:lnTo>
                  <a:lnTo>
                    <a:pt x="14924" y="14848"/>
                  </a:lnTo>
                  <a:lnTo>
                    <a:pt x="14924" y="21081"/>
                  </a:lnTo>
                  <a:lnTo>
                    <a:pt x="14924" y="33547"/>
                  </a:lnTo>
                  <a:cubicBezTo>
                    <a:pt x="14924" y="41026"/>
                    <a:pt x="14924" y="49752"/>
                    <a:pt x="14924" y="57231"/>
                  </a:cubicBezTo>
                  <a:cubicBezTo>
                    <a:pt x="14924" y="72190"/>
                    <a:pt x="14924" y="87149"/>
                    <a:pt x="14924" y="102108"/>
                  </a:cubicBezTo>
                  <a:cubicBezTo>
                    <a:pt x="14924" y="132025"/>
                    <a:pt x="14924" y="159450"/>
                    <a:pt x="14924" y="184381"/>
                  </a:cubicBezTo>
                  <a:lnTo>
                    <a:pt x="12431" y="181888"/>
                  </a:lnTo>
                  <a:cubicBezTo>
                    <a:pt x="63540" y="181888"/>
                    <a:pt x="107170" y="183135"/>
                    <a:pt x="138334" y="183135"/>
                  </a:cubicBezTo>
                  <a:cubicBezTo>
                    <a:pt x="153293" y="183135"/>
                    <a:pt x="164512" y="183135"/>
                    <a:pt x="174485" y="184381"/>
                  </a:cubicBezTo>
                  <a:cubicBezTo>
                    <a:pt x="181964" y="186874"/>
                    <a:pt x="186951" y="186874"/>
                    <a:pt x="186951" y="186874"/>
                  </a:cubicBezTo>
                  <a:cubicBezTo>
                    <a:pt x="186951" y="186874"/>
                    <a:pt x="183211" y="186874"/>
                    <a:pt x="174485" y="188121"/>
                  </a:cubicBezTo>
                  <a:cubicBezTo>
                    <a:pt x="165759" y="188121"/>
                    <a:pt x="153293" y="188121"/>
                    <a:pt x="139581" y="189368"/>
                  </a:cubicBezTo>
                  <a:cubicBezTo>
                    <a:pt x="108417" y="189368"/>
                    <a:pt x="63540" y="190614"/>
                    <a:pt x="12431" y="190614"/>
                  </a:cubicBezTo>
                  <a:lnTo>
                    <a:pt x="9938" y="190614"/>
                  </a:lnTo>
                  <a:lnTo>
                    <a:pt x="9938" y="188121"/>
                  </a:lnTo>
                  <a:cubicBezTo>
                    <a:pt x="9938" y="163190"/>
                    <a:pt x="9938" y="134519"/>
                    <a:pt x="9938" y="105847"/>
                  </a:cubicBezTo>
                  <a:cubicBezTo>
                    <a:pt x="9938" y="90889"/>
                    <a:pt x="9938" y="75930"/>
                    <a:pt x="9938" y="60971"/>
                  </a:cubicBezTo>
                  <a:cubicBezTo>
                    <a:pt x="9938" y="53492"/>
                    <a:pt x="9938" y="46012"/>
                    <a:pt x="9938" y="37286"/>
                  </a:cubicBezTo>
                  <a:lnTo>
                    <a:pt x="9938" y="24821"/>
                  </a:lnTo>
                  <a:lnTo>
                    <a:pt x="9938" y="18588"/>
                  </a:lnTo>
                  <a:lnTo>
                    <a:pt x="9938" y="16095"/>
                  </a:lnTo>
                  <a:lnTo>
                    <a:pt x="9938" y="14848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cubicBezTo>
                    <a:pt x="7445" y="16095"/>
                    <a:pt x="13678" y="9862"/>
                    <a:pt x="13678" y="9862"/>
                  </a:cubicBezTo>
                  <a:cubicBezTo>
                    <a:pt x="77253" y="9862"/>
                    <a:pt x="137088" y="9862"/>
                    <a:pt x="188197" y="9862"/>
                  </a:cubicBezTo>
                  <a:lnTo>
                    <a:pt x="190690" y="9862"/>
                  </a:lnTo>
                  <a:lnTo>
                    <a:pt x="190690" y="12355"/>
                  </a:lnTo>
                  <a:cubicBezTo>
                    <a:pt x="190690" y="64711"/>
                    <a:pt x="189444" y="108341"/>
                    <a:pt x="189444" y="139505"/>
                  </a:cubicBezTo>
                  <a:cubicBezTo>
                    <a:pt x="189444" y="154464"/>
                    <a:pt x="189444" y="165683"/>
                    <a:pt x="188197" y="174409"/>
                  </a:cubicBezTo>
                  <a:cubicBezTo>
                    <a:pt x="188197" y="183135"/>
                    <a:pt x="186951" y="186874"/>
                    <a:pt x="186951" y="186874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>
              <a:extLst>
                <a:ext uri="{FF2B5EF4-FFF2-40B4-BE49-F238E27FC236}">
                  <a16:creationId xmlns:a16="http://schemas.microsoft.com/office/drawing/2014/main" id="{606E1664-D224-4E2E-8E6F-CC40EF403696}"/>
                </a:ext>
              </a:extLst>
            </p:cNvPr>
            <p:cNvSpPr/>
            <p:nvPr/>
          </p:nvSpPr>
          <p:spPr>
            <a:xfrm>
              <a:off x="9319585" y="4000039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3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3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4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7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6204" y="868438"/>
                    <a:pt x="329834" y="823561"/>
                  </a:cubicBezTo>
                  <a:cubicBezTo>
                    <a:pt x="373464" y="778685"/>
                    <a:pt x="384684" y="705137"/>
                    <a:pt x="356013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3" y="496961"/>
                    <a:pt x="379697" y="474522"/>
                    <a:pt x="395902" y="448344"/>
                  </a:cubicBezTo>
                  <a:cubicBezTo>
                    <a:pt x="412108" y="420920"/>
                    <a:pt x="422081" y="387262"/>
                    <a:pt x="409615" y="358591"/>
                  </a:cubicBezTo>
                  <a:cubicBezTo>
                    <a:pt x="384684" y="302496"/>
                    <a:pt x="296177" y="300003"/>
                    <a:pt x="269999" y="243907"/>
                  </a:cubicBezTo>
                  <a:cubicBezTo>
                    <a:pt x="257533" y="217729"/>
                    <a:pt x="262520" y="186565"/>
                    <a:pt x="265013" y="157894"/>
                  </a:cubicBezTo>
                  <a:cubicBezTo>
                    <a:pt x="267506" y="122990"/>
                    <a:pt x="266260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3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4" y="595439"/>
                  </a:cubicBezTo>
                  <a:cubicBezTo>
                    <a:pt x="125398" y="612891"/>
                    <a:pt x="106699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20" y="677713"/>
                    <a:pt x="9466" y="700151"/>
                  </a:cubicBezTo>
                  <a:cubicBezTo>
                    <a:pt x="10713" y="722590"/>
                    <a:pt x="21932" y="742534"/>
                    <a:pt x="34397" y="759987"/>
                  </a:cubicBezTo>
                  <a:cubicBezTo>
                    <a:pt x="34397" y="758740"/>
                    <a:pt x="92986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>
              <a:extLst>
                <a:ext uri="{FF2B5EF4-FFF2-40B4-BE49-F238E27FC236}">
                  <a16:creationId xmlns:a16="http://schemas.microsoft.com/office/drawing/2014/main" id="{1390B036-646E-4A11-A62F-967786B3145E}"/>
                </a:ext>
              </a:extLst>
            </p:cNvPr>
            <p:cNvSpPr/>
            <p:nvPr/>
          </p:nvSpPr>
          <p:spPr>
            <a:xfrm>
              <a:off x="9514167" y="4316871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>
              <a:extLst>
                <a:ext uri="{FF2B5EF4-FFF2-40B4-BE49-F238E27FC236}">
                  <a16:creationId xmlns:a16="http://schemas.microsoft.com/office/drawing/2014/main" id="{4EBD12F2-EB3C-4790-8F00-DD6953125B27}"/>
                </a:ext>
              </a:extLst>
            </p:cNvPr>
            <p:cNvSpPr/>
            <p:nvPr/>
          </p:nvSpPr>
          <p:spPr>
            <a:xfrm>
              <a:off x="9510427" y="4402884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0" y="116554"/>
                    <a:pt x="67937" y="79157"/>
                    <a:pt x="96609" y="40513"/>
                  </a:cubicBezTo>
                  <a:cubicBezTo>
                    <a:pt x="105334" y="29294"/>
                    <a:pt x="112814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>
              <a:extLst>
                <a:ext uri="{FF2B5EF4-FFF2-40B4-BE49-F238E27FC236}">
                  <a16:creationId xmlns:a16="http://schemas.microsoft.com/office/drawing/2014/main" id="{D0DEDB84-2528-44C8-92F9-50BCA1C6A256}"/>
                </a:ext>
              </a:extLst>
            </p:cNvPr>
            <p:cNvSpPr/>
            <p:nvPr/>
          </p:nvSpPr>
          <p:spPr>
            <a:xfrm>
              <a:off x="9426907" y="4674636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29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>
              <a:extLst>
                <a:ext uri="{FF2B5EF4-FFF2-40B4-BE49-F238E27FC236}">
                  <a16:creationId xmlns:a16="http://schemas.microsoft.com/office/drawing/2014/main" id="{BCD54777-BB15-497A-932D-8AF4A3B5A054}"/>
                </a:ext>
              </a:extLst>
            </p:cNvPr>
            <p:cNvSpPr/>
            <p:nvPr/>
          </p:nvSpPr>
          <p:spPr>
            <a:xfrm>
              <a:off x="9434386" y="4303158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9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>
              <a:extLst>
                <a:ext uri="{FF2B5EF4-FFF2-40B4-BE49-F238E27FC236}">
                  <a16:creationId xmlns:a16="http://schemas.microsoft.com/office/drawing/2014/main" id="{93C29658-FD19-4C4B-852C-CCE976D4B358}"/>
                </a:ext>
              </a:extLst>
            </p:cNvPr>
            <p:cNvSpPr/>
            <p:nvPr/>
          </p:nvSpPr>
          <p:spPr>
            <a:xfrm>
              <a:off x="9000267" y="3724935"/>
              <a:ext cx="560956" cy="1171774"/>
            </a:xfrm>
            <a:custGeom>
              <a:avLst/>
              <a:gdLst>
                <a:gd name="connsiteX0" fmla="*/ 211607 w 560955"/>
                <a:gd name="connsiteY0" fmla="*/ 1157254 h 1171774"/>
                <a:gd name="connsiteX1" fmla="*/ 445961 w 560955"/>
                <a:gd name="connsiteY1" fmla="*/ 1116118 h 1171774"/>
                <a:gd name="connsiteX2" fmla="*/ 480865 w 560955"/>
                <a:gd name="connsiteY2" fmla="*/ 880516 h 1171774"/>
                <a:gd name="connsiteX3" fmla="*/ 432249 w 560955"/>
                <a:gd name="connsiteY3" fmla="*/ 768325 h 1171774"/>
                <a:gd name="connsiteX4" fmla="*/ 455934 w 560955"/>
                <a:gd name="connsiteY4" fmla="*/ 707243 h 1171774"/>
                <a:gd name="connsiteX5" fmla="*/ 534467 w 560955"/>
                <a:gd name="connsiteY5" fmla="*/ 605025 h 1171774"/>
                <a:gd name="connsiteX6" fmla="*/ 553166 w 560955"/>
                <a:gd name="connsiteY6" fmla="*/ 482861 h 1171774"/>
                <a:gd name="connsiteX7" fmla="*/ 362441 w 560955"/>
                <a:gd name="connsiteY7" fmla="*/ 327040 h 1171774"/>
                <a:gd name="connsiteX8" fmla="*/ 356208 w 560955"/>
                <a:gd name="connsiteY8" fmla="*/ 211109 h 1171774"/>
                <a:gd name="connsiteX9" fmla="*/ 335016 w 560955"/>
                <a:gd name="connsiteY9" fmla="*/ 72740 h 1171774"/>
                <a:gd name="connsiteX10" fmla="*/ 217839 w 560955"/>
                <a:gd name="connsiteY10" fmla="*/ 11658 h 1171774"/>
                <a:gd name="connsiteX11" fmla="*/ 114374 w 560955"/>
                <a:gd name="connsiteY11" fmla="*/ 137562 h 1171774"/>
                <a:gd name="connsiteX12" fmla="*/ 74484 w 560955"/>
                <a:gd name="connsiteY12" fmla="*/ 242273 h 1171774"/>
                <a:gd name="connsiteX13" fmla="*/ 24621 w 560955"/>
                <a:gd name="connsiteY13" fmla="*/ 545189 h 1171774"/>
                <a:gd name="connsiteX14" fmla="*/ 150524 w 560955"/>
                <a:gd name="connsiteY14" fmla="*/ 762092 h 1171774"/>
                <a:gd name="connsiteX15" fmla="*/ 167977 w 560955"/>
                <a:gd name="connsiteY15" fmla="*/ 805722 h 1171774"/>
                <a:gd name="connsiteX16" fmla="*/ 115621 w 560955"/>
                <a:gd name="connsiteY16" fmla="*/ 850598 h 1171774"/>
                <a:gd name="connsiteX17" fmla="*/ 44566 w 560955"/>
                <a:gd name="connsiteY17" fmla="*/ 869297 h 1171774"/>
                <a:gd name="connsiteX18" fmla="*/ 9662 w 560955"/>
                <a:gd name="connsiteY18" fmla="*/ 946584 h 1171774"/>
                <a:gd name="connsiteX19" fmla="*/ 43320 w 560955"/>
                <a:gd name="connsiteY19" fmla="*/ 1027611 h 1171774"/>
                <a:gd name="connsiteX20" fmla="*/ 211607 w 560955"/>
                <a:gd name="connsiteY20" fmla="*/ 1157254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0955" h="1171774">
                  <a:moveTo>
                    <a:pt x="211607" y="1157254"/>
                  </a:moveTo>
                  <a:cubicBezTo>
                    <a:pt x="291387" y="1184679"/>
                    <a:pt x="387372" y="1177199"/>
                    <a:pt x="445961" y="1116118"/>
                  </a:cubicBezTo>
                  <a:cubicBezTo>
                    <a:pt x="505796" y="1055036"/>
                    <a:pt x="519509" y="955310"/>
                    <a:pt x="480865" y="880516"/>
                  </a:cubicBezTo>
                  <a:cubicBezTo>
                    <a:pt x="462167" y="844366"/>
                    <a:pt x="431002" y="809462"/>
                    <a:pt x="432249" y="768325"/>
                  </a:cubicBezTo>
                  <a:cubicBezTo>
                    <a:pt x="433496" y="745887"/>
                    <a:pt x="443468" y="725942"/>
                    <a:pt x="455934" y="707243"/>
                  </a:cubicBezTo>
                  <a:cubicBezTo>
                    <a:pt x="479619" y="672339"/>
                    <a:pt x="512029" y="641175"/>
                    <a:pt x="534467" y="605025"/>
                  </a:cubicBezTo>
                  <a:cubicBezTo>
                    <a:pt x="556906" y="568874"/>
                    <a:pt x="569372" y="521504"/>
                    <a:pt x="553166" y="482861"/>
                  </a:cubicBezTo>
                  <a:cubicBezTo>
                    <a:pt x="519509" y="406820"/>
                    <a:pt x="398592" y="403080"/>
                    <a:pt x="362441" y="327040"/>
                  </a:cubicBezTo>
                  <a:cubicBezTo>
                    <a:pt x="344990" y="290889"/>
                    <a:pt x="352469" y="249753"/>
                    <a:pt x="356208" y="211109"/>
                  </a:cubicBezTo>
                  <a:cubicBezTo>
                    <a:pt x="359948" y="163739"/>
                    <a:pt x="358702" y="113876"/>
                    <a:pt x="335016" y="72740"/>
                  </a:cubicBezTo>
                  <a:cubicBezTo>
                    <a:pt x="312578" y="31603"/>
                    <a:pt x="263962" y="439"/>
                    <a:pt x="217839" y="11658"/>
                  </a:cubicBezTo>
                  <a:cubicBezTo>
                    <a:pt x="162990" y="24124"/>
                    <a:pt x="134319" y="83959"/>
                    <a:pt x="114374" y="137562"/>
                  </a:cubicBezTo>
                  <a:cubicBezTo>
                    <a:pt x="100662" y="172465"/>
                    <a:pt x="88196" y="207369"/>
                    <a:pt x="74484" y="242273"/>
                  </a:cubicBezTo>
                  <a:cubicBezTo>
                    <a:pt x="37087" y="339505"/>
                    <a:pt x="-310" y="444217"/>
                    <a:pt x="24621" y="545189"/>
                  </a:cubicBezTo>
                  <a:cubicBezTo>
                    <a:pt x="44566" y="626216"/>
                    <a:pt x="101908" y="693531"/>
                    <a:pt x="150524" y="762092"/>
                  </a:cubicBezTo>
                  <a:cubicBezTo>
                    <a:pt x="159251" y="774558"/>
                    <a:pt x="169223" y="789517"/>
                    <a:pt x="167977" y="805722"/>
                  </a:cubicBezTo>
                  <a:cubicBezTo>
                    <a:pt x="165483" y="830653"/>
                    <a:pt x="140552" y="845612"/>
                    <a:pt x="115621" y="850598"/>
                  </a:cubicBezTo>
                  <a:cubicBezTo>
                    <a:pt x="91936" y="855585"/>
                    <a:pt x="65758" y="855585"/>
                    <a:pt x="44566" y="869297"/>
                  </a:cubicBezTo>
                  <a:cubicBezTo>
                    <a:pt x="19635" y="885503"/>
                    <a:pt x="7169" y="916667"/>
                    <a:pt x="9662" y="946584"/>
                  </a:cubicBezTo>
                  <a:cubicBezTo>
                    <a:pt x="12156" y="976502"/>
                    <a:pt x="25868" y="1003927"/>
                    <a:pt x="43320" y="1027611"/>
                  </a:cubicBezTo>
                  <a:cubicBezTo>
                    <a:pt x="44566" y="1028858"/>
                    <a:pt x="123100" y="1126090"/>
                    <a:pt x="211607" y="1157254"/>
                  </a:cubicBez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>
              <a:extLst>
                <a:ext uri="{FF2B5EF4-FFF2-40B4-BE49-F238E27FC236}">
                  <a16:creationId xmlns:a16="http://schemas.microsoft.com/office/drawing/2014/main" id="{6FFCBBEF-42F2-423E-959F-ECC62DEE6911}"/>
                </a:ext>
              </a:extLst>
            </p:cNvPr>
            <p:cNvSpPr/>
            <p:nvPr/>
          </p:nvSpPr>
          <p:spPr>
            <a:xfrm>
              <a:off x="9261113" y="4154817"/>
              <a:ext cx="24931" cy="735475"/>
            </a:xfrm>
            <a:custGeom>
              <a:avLst/>
              <a:gdLst>
                <a:gd name="connsiteX0" fmla="*/ 13089 w 24931"/>
                <a:gd name="connsiteY0" fmla="*/ 734852 h 735475"/>
                <a:gd name="connsiteX1" fmla="*/ 9349 w 24931"/>
                <a:gd name="connsiteY1" fmla="*/ 372101 h 735475"/>
                <a:gd name="connsiteX2" fmla="*/ 13089 w 24931"/>
                <a:gd name="connsiteY2" fmla="*/ 9349 h 735475"/>
                <a:gd name="connsiteX3" fmla="*/ 16829 w 24931"/>
                <a:gd name="connsiteY3" fmla="*/ 372101 h 735475"/>
                <a:gd name="connsiteX4" fmla="*/ 13089 w 24931"/>
                <a:gd name="connsiteY4" fmla="*/ 734852 h 73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735475">
                  <a:moveTo>
                    <a:pt x="13089" y="734852"/>
                  </a:moveTo>
                  <a:cubicBezTo>
                    <a:pt x="11843" y="734852"/>
                    <a:pt x="9349" y="572798"/>
                    <a:pt x="9349" y="372101"/>
                  </a:cubicBezTo>
                  <a:cubicBezTo>
                    <a:pt x="9349" y="171403"/>
                    <a:pt x="10596" y="9349"/>
                    <a:pt x="13089" y="9349"/>
                  </a:cubicBezTo>
                  <a:cubicBezTo>
                    <a:pt x="14335" y="9349"/>
                    <a:pt x="16829" y="171403"/>
                    <a:pt x="16829" y="372101"/>
                  </a:cubicBezTo>
                  <a:cubicBezTo>
                    <a:pt x="16829" y="572798"/>
                    <a:pt x="15582" y="734852"/>
                    <a:pt x="13089" y="73485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>
              <a:extLst>
                <a:ext uri="{FF2B5EF4-FFF2-40B4-BE49-F238E27FC236}">
                  <a16:creationId xmlns:a16="http://schemas.microsoft.com/office/drawing/2014/main" id="{26123FC4-D8F2-497B-A065-8EDE6CE121DD}"/>
                </a:ext>
              </a:extLst>
            </p:cNvPr>
            <p:cNvSpPr/>
            <p:nvPr/>
          </p:nvSpPr>
          <p:spPr>
            <a:xfrm>
              <a:off x="9259748" y="4274370"/>
              <a:ext cx="174520" cy="211917"/>
            </a:xfrm>
            <a:custGeom>
              <a:avLst/>
              <a:gdLst>
                <a:gd name="connsiteX0" fmla="*/ 165289 w 174519"/>
                <a:gd name="connsiteY0" fmla="*/ 9466 h 211916"/>
                <a:gd name="connsiteX1" fmla="*/ 141604 w 174519"/>
                <a:gd name="connsiteY1" fmla="*/ 38137 h 211916"/>
                <a:gd name="connsiteX2" fmla="*/ 88001 w 174519"/>
                <a:gd name="connsiteY2" fmla="*/ 109192 h 211916"/>
                <a:gd name="connsiteX3" fmla="*/ 33153 w 174519"/>
                <a:gd name="connsiteY3" fmla="*/ 179000 h 211916"/>
                <a:gd name="connsiteX4" fmla="*/ 9468 w 174519"/>
                <a:gd name="connsiteY4" fmla="*/ 206424 h 211916"/>
                <a:gd name="connsiteX5" fmla="*/ 29413 w 174519"/>
                <a:gd name="connsiteY5" fmla="*/ 175260 h 211916"/>
                <a:gd name="connsiteX6" fmla="*/ 83015 w 174519"/>
                <a:gd name="connsiteY6" fmla="*/ 104206 h 211916"/>
                <a:gd name="connsiteX7" fmla="*/ 137864 w 174519"/>
                <a:gd name="connsiteY7" fmla="*/ 34398 h 211916"/>
                <a:gd name="connsiteX8" fmla="*/ 165289 w 174519"/>
                <a:gd name="connsiteY8" fmla="*/ 9466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519" h="211916">
                  <a:moveTo>
                    <a:pt x="165289" y="9466"/>
                  </a:moveTo>
                  <a:cubicBezTo>
                    <a:pt x="165289" y="10713"/>
                    <a:pt x="155316" y="19439"/>
                    <a:pt x="141604" y="38137"/>
                  </a:cubicBezTo>
                  <a:cubicBezTo>
                    <a:pt x="127892" y="56836"/>
                    <a:pt x="109193" y="81767"/>
                    <a:pt x="88001" y="109192"/>
                  </a:cubicBezTo>
                  <a:cubicBezTo>
                    <a:pt x="66810" y="136617"/>
                    <a:pt x="48111" y="161548"/>
                    <a:pt x="33153" y="179000"/>
                  </a:cubicBezTo>
                  <a:cubicBezTo>
                    <a:pt x="19440" y="196452"/>
                    <a:pt x="9468" y="207671"/>
                    <a:pt x="9468" y="206424"/>
                  </a:cubicBezTo>
                  <a:cubicBezTo>
                    <a:pt x="8221" y="206424"/>
                    <a:pt x="16947" y="193958"/>
                    <a:pt x="29413" y="175260"/>
                  </a:cubicBezTo>
                  <a:cubicBezTo>
                    <a:pt x="41878" y="156561"/>
                    <a:pt x="61824" y="131630"/>
                    <a:pt x="83015" y="104206"/>
                  </a:cubicBezTo>
                  <a:cubicBezTo>
                    <a:pt x="104207" y="76781"/>
                    <a:pt x="122906" y="51850"/>
                    <a:pt x="137864" y="34398"/>
                  </a:cubicBezTo>
                  <a:cubicBezTo>
                    <a:pt x="154070" y="16946"/>
                    <a:pt x="165289" y="8220"/>
                    <a:pt x="165289" y="94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>
              <a:extLst>
                <a:ext uri="{FF2B5EF4-FFF2-40B4-BE49-F238E27FC236}">
                  <a16:creationId xmlns:a16="http://schemas.microsoft.com/office/drawing/2014/main" id="{7D49AE3E-6A51-4A66-A6EB-B1AD625D7A48}"/>
                </a:ext>
              </a:extLst>
            </p:cNvPr>
            <p:cNvSpPr/>
            <p:nvPr/>
          </p:nvSpPr>
          <p:spPr>
            <a:xfrm>
              <a:off x="9147636" y="4644582"/>
              <a:ext cx="124657" cy="149588"/>
            </a:xfrm>
            <a:custGeom>
              <a:avLst/>
              <a:gdLst>
                <a:gd name="connsiteX0" fmla="*/ 125320 w 124656"/>
                <a:gd name="connsiteY0" fmla="*/ 144114 h 149588"/>
                <a:gd name="connsiteX1" fmla="*/ 122826 w 124656"/>
                <a:gd name="connsiteY1" fmla="*/ 137882 h 149588"/>
                <a:gd name="connsiteX2" fmla="*/ 112854 w 124656"/>
                <a:gd name="connsiteY2" fmla="*/ 122923 h 149588"/>
                <a:gd name="connsiteX3" fmla="*/ 70471 w 124656"/>
                <a:gd name="connsiteY3" fmla="*/ 75553 h 149588"/>
                <a:gd name="connsiteX4" fmla="*/ 9388 w 124656"/>
                <a:gd name="connsiteY4" fmla="*/ 9485 h 149588"/>
                <a:gd name="connsiteX5" fmla="*/ 30580 w 124656"/>
                <a:gd name="connsiteY5" fmla="*/ 25690 h 149588"/>
                <a:gd name="connsiteX6" fmla="*/ 75457 w 124656"/>
                <a:gd name="connsiteY6" fmla="*/ 71814 h 149588"/>
                <a:gd name="connsiteX7" fmla="*/ 116593 w 124656"/>
                <a:gd name="connsiteY7" fmla="*/ 121676 h 149588"/>
                <a:gd name="connsiteX8" fmla="*/ 126566 w 124656"/>
                <a:gd name="connsiteY8" fmla="*/ 139128 h 149588"/>
                <a:gd name="connsiteX9" fmla="*/ 125320 w 124656"/>
                <a:gd name="connsiteY9" fmla="*/ 1441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56" h="149588">
                  <a:moveTo>
                    <a:pt x="125320" y="144114"/>
                  </a:moveTo>
                  <a:cubicBezTo>
                    <a:pt x="125320" y="144114"/>
                    <a:pt x="124073" y="141621"/>
                    <a:pt x="122826" y="137882"/>
                  </a:cubicBezTo>
                  <a:cubicBezTo>
                    <a:pt x="121580" y="134142"/>
                    <a:pt x="117840" y="129155"/>
                    <a:pt x="112854" y="122923"/>
                  </a:cubicBezTo>
                  <a:cubicBezTo>
                    <a:pt x="101635" y="110457"/>
                    <a:pt x="87922" y="93005"/>
                    <a:pt x="70471" y="75553"/>
                  </a:cubicBezTo>
                  <a:cubicBezTo>
                    <a:pt x="36813" y="38156"/>
                    <a:pt x="8142" y="10731"/>
                    <a:pt x="9388" y="9485"/>
                  </a:cubicBezTo>
                  <a:cubicBezTo>
                    <a:pt x="9388" y="8239"/>
                    <a:pt x="18115" y="15718"/>
                    <a:pt x="30580" y="25690"/>
                  </a:cubicBezTo>
                  <a:cubicBezTo>
                    <a:pt x="43046" y="36909"/>
                    <a:pt x="59251" y="53115"/>
                    <a:pt x="75457" y="71814"/>
                  </a:cubicBezTo>
                  <a:cubicBezTo>
                    <a:pt x="91662" y="90512"/>
                    <a:pt x="106621" y="107964"/>
                    <a:pt x="116593" y="121676"/>
                  </a:cubicBezTo>
                  <a:cubicBezTo>
                    <a:pt x="121580" y="127909"/>
                    <a:pt x="125320" y="134142"/>
                    <a:pt x="126566" y="139128"/>
                  </a:cubicBezTo>
                  <a:cubicBezTo>
                    <a:pt x="126566" y="141621"/>
                    <a:pt x="125320" y="144114"/>
                    <a:pt x="125320" y="14411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>
              <a:extLst>
                <a:ext uri="{FF2B5EF4-FFF2-40B4-BE49-F238E27FC236}">
                  <a16:creationId xmlns:a16="http://schemas.microsoft.com/office/drawing/2014/main" id="{9FCDD572-9561-4013-BD20-930DC9EB3D00}"/>
                </a:ext>
              </a:extLst>
            </p:cNvPr>
            <p:cNvSpPr/>
            <p:nvPr/>
          </p:nvSpPr>
          <p:spPr>
            <a:xfrm>
              <a:off x="9157648" y="4137365"/>
              <a:ext cx="112191" cy="186985"/>
            </a:xfrm>
            <a:custGeom>
              <a:avLst/>
              <a:gdLst>
                <a:gd name="connsiteX0" fmla="*/ 112814 w 112191"/>
                <a:gd name="connsiteY0" fmla="*/ 178883 h 186985"/>
                <a:gd name="connsiteX1" fmla="*/ 59212 w 112191"/>
                <a:gd name="connsiteY1" fmla="*/ 95362 h 186985"/>
                <a:gd name="connsiteX2" fmla="*/ 24308 w 112191"/>
                <a:gd name="connsiteY2" fmla="*/ 34281 h 186985"/>
                <a:gd name="connsiteX3" fmla="*/ 9349 w 112191"/>
                <a:gd name="connsiteY3" fmla="*/ 9349 h 186985"/>
                <a:gd name="connsiteX4" fmla="*/ 28048 w 112191"/>
                <a:gd name="connsiteY4" fmla="*/ 31787 h 186985"/>
                <a:gd name="connsiteX5" fmla="*/ 65445 w 112191"/>
                <a:gd name="connsiteY5" fmla="*/ 91623 h 186985"/>
                <a:gd name="connsiteX6" fmla="*/ 100349 w 112191"/>
                <a:gd name="connsiteY6" fmla="*/ 152705 h 186985"/>
                <a:gd name="connsiteX7" fmla="*/ 112814 w 112191"/>
                <a:gd name="connsiteY7" fmla="*/ 178883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191" h="186985">
                  <a:moveTo>
                    <a:pt x="112814" y="178883"/>
                  </a:moveTo>
                  <a:cubicBezTo>
                    <a:pt x="111568" y="180129"/>
                    <a:pt x="85390" y="142732"/>
                    <a:pt x="59212" y="95362"/>
                  </a:cubicBezTo>
                  <a:cubicBezTo>
                    <a:pt x="45500" y="71678"/>
                    <a:pt x="33034" y="50486"/>
                    <a:pt x="24308" y="34281"/>
                  </a:cubicBezTo>
                  <a:cubicBezTo>
                    <a:pt x="15582" y="19322"/>
                    <a:pt x="9349" y="9349"/>
                    <a:pt x="9349" y="9349"/>
                  </a:cubicBezTo>
                  <a:cubicBezTo>
                    <a:pt x="10596" y="9349"/>
                    <a:pt x="16829" y="16829"/>
                    <a:pt x="28048" y="31787"/>
                  </a:cubicBezTo>
                  <a:cubicBezTo>
                    <a:pt x="38020" y="46746"/>
                    <a:pt x="51733" y="67938"/>
                    <a:pt x="65445" y="91623"/>
                  </a:cubicBezTo>
                  <a:cubicBezTo>
                    <a:pt x="77911" y="114061"/>
                    <a:pt x="90376" y="135253"/>
                    <a:pt x="100349" y="152705"/>
                  </a:cubicBezTo>
                  <a:cubicBezTo>
                    <a:pt x="107828" y="168910"/>
                    <a:pt x="114061" y="178883"/>
                    <a:pt x="112814" y="1788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>
              <a:extLst>
                <a:ext uri="{FF2B5EF4-FFF2-40B4-BE49-F238E27FC236}">
                  <a16:creationId xmlns:a16="http://schemas.microsoft.com/office/drawing/2014/main" id="{0C8E1C44-5946-47D5-90F3-F11D7FD174DA}"/>
                </a:ext>
              </a:extLst>
            </p:cNvPr>
            <p:cNvSpPr/>
            <p:nvPr/>
          </p:nvSpPr>
          <p:spPr>
            <a:xfrm>
              <a:off x="6987256" y="4274284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>
              <a:extLst>
                <a:ext uri="{FF2B5EF4-FFF2-40B4-BE49-F238E27FC236}">
                  <a16:creationId xmlns:a16="http://schemas.microsoft.com/office/drawing/2014/main" id="{6A506182-3D17-4159-8A7F-48713CD7EF50}"/>
                </a:ext>
              </a:extLst>
            </p:cNvPr>
            <p:cNvSpPr/>
            <p:nvPr/>
          </p:nvSpPr>
          <p:spPr>
            <a:xfrm>
              <a:off x="7180591" y="4589869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>
              <a:extLst>
                <a:ext uri="{FF2B5EF4-FFF2-40B4-BE49-F238E27FC236}">
                  <a16:creationId xmlns:a16="http://schemas.microsoft.com/office/drawing/2014/main" id="{975B46AB-1EF7-49F0-BAFA-2B8C623ED8E5}"/>
                </a:ext>
              </a:extLst>
            </p:cNvPr>
            <p:cNvSpPr/>
            <p:nvPr/>
          </p:nvSpPr>
          <p:spPr>
            <a:xfrm>
              <a:off x="7178097" y="4677129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1" y="116554"/>
                    <a:pt x="67938" y="79157"/>
                    <a:pt x="96609" y="40513"/>
                  </a:cubicBezTo>
                  <a:cubicBezTo>
                    <a:pt x="105335" y="29294"/>
                    <a:pt x="112815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>
              <a:extLst>
                <a:ext uri="{FF2B5EF4-FFF2-40B4-BE49-F238E27FC236}">
                  <a16:creationId xmlns:a16="http://schemas.microsoft.com/office/drawing/2014/main" id="{60DB4FD6-8B26-48AD-A11D-A8A0B5076B33}"/>
                </a:ext>
              </a:extLst>
            </p:cNvPr>
            <p:cNvSpPr/>
            <p:nvPr/>
          </p:nvSpPr>
          <p:spPr>
            <a:xfrm>
              <a:off x="7094578" y="4948881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30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>
              <a:extLst>
                <a:ext uri="{FF2B5EF4-FFF2-40B4-BE49-F238E27FC236}">
                  <a16:creationId xmlns:a16="http://schemas.microsoft.com/office/drawing/2014/main" id="{C8170AF0-B774-4C45-AD86-52153D39CC64}"/>
                </a:ext>
              </a:extLst>
            </p:cNvPr>
            <p:cNvSpPr/>
            <p:nvPr/>
          </p:nvSpPr>
          <p:spPr>
            <a:xfrm>
              <a:off x="7102057" y="4577403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8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>
              <a:extLst>
                <a:ext uri="{FF2B5EF4-FFF2-40B4-BE49-F238E27FC236}">
                  <a16:creationId xmlns:a16="http://schemas.microsoft.com/office/drawing/2014/main" id="{E29A2104-75C2-49BA-8732-88A4862C4805}"/>
                </a:ext>
              </a:extLst>
            </p:cNvPr>
            <p:cNvSpPr/>
            <p:nvPr/>
          </p:nvSpPr>
          <p:spPr>
            <a:xfrm>
              <a:off x="7148361" y="4451924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>
              <a:extLst>
                <a:ext uri="{FF2B5EF4-FFF2-40B4-BE49-F238E27FC236}">
                  <a16:creationId xmlns:a16="http://schemas.microsoft.com/office/drawing/2014/main" id="{7784B48F-0B9C-4244-9373-7FA9A357159D}"/>
                </a:ext>
              </a:extLst>
            </p:cNvPr>
            <p:cNvSpPr/>
            <p:nvPr/>
          </p:nvSpPr>
          <p:spPr>
            <a:xfrm>
              <a:off x="7347631" y="4613554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1" name="任意多边形: 形状 10040">
              <a:extLst>
                <a:ext uri="{FF2B5EF4-FFF2-40B4-BE49-F238E27FC236}">
                  <a16:creationId xmlns:a16="http://schemas.microsoft.com/office/drawing/2014/main" id="{60D19C45-6C9F-45B7-8DF5-5B216510417D}"/>
                </a:ext>
              </a:extLst>
            </p:cNvPr>
            <p:cNvSpPr/>
            <p:nvPr/>
          </p:nvSpPr>
          <p:spPr>
            <a:xfrm>
              <a:off x="7350124" y="4809265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2" name="任意多边形: 形状 10041">
              <a:extLst>
                <a:ext uri="{FF2B5EF4-FFF2-40B4-BE49-F238E27FC236}">
                  <a16:creationId xmlns:a16="http://schemas.microsoft.com/office/drawing/2014/main" id="{5134EC55-FAD1-4DF2-96A2-ED4E35229758}"/>
                </a:ext>
              </a:extLst>
            </p:cNvPr>
            <p:cNvSpPr/>
            <p:nvPr/>
          </p:nvSpPr>
          <p:spPr>
            <a:xfrm>
              <a:off x="7355110" y="4933922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3" name="任意多边形: 形状 10042">
              <a:extLst>
                <a:ext uri="{FF2B5EF4-FFF2-40B4-BE49-F238E27FC236}">
                  <a16:creationId xmlns:a16="http://schemas.microsoft.com/office/drawing/2014/main" id="{57449120-F67F-4468-9D7C-318AB94AC3A9}"/>
                </a:ext>
              </a:extLst>
            </p:cNvPr>
            <p:cNvSpPr/>
            <p:nvPr/>
          </p:nvSpPr>
          <p:spPr>
            <a:xfrm>
              <a:off x="7224221" y="4801785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536490" y="222922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537606" y="312457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872E4FAF-2F18-4576-AC54-6A2E0EB8A203}"/>
              </a:ext>
            </a:extLst>
          </p:cNvPr>
          <p:cNvSpPr/>
          <p:nvPr userDrawn="1"/>
        </p:nvSpPr>
        <p:spPr>
          <a:xfrm>
            <a:off x="10966419" y="1215766"/>
            <a:ext cx="174520" cy="174520"/>
          </a:xfrm>
          <a:custGeom>
            <a:avLst/>
            <a:gdLst>
              <a:gd name="connsiteX0" fmla="*/ 90376 w 174519"/>
              <a:gd name="connsiteY0" fmla="*/ 9349 h 174519"/>
              <a:gd name="connsiteX1" fmla="*/ 120293 w 174519"/>
              <a:gd name="connsiteY1" fmla="*/ 61705 h 174519"/>
              <a:gd name="connsiteX2" fmla="*/ 172649 w 174519"/>
              <a:gd name="connsiteY2" fmla="*/ 90376 h 174519"/>
              <a:gd name="connsiteX3" fmla="*/ 120293 w 174519"/>
              <a:gd name="connsiteY3" fmla="*/ 120294 h 174519"/>
              <a:gd name="connsiteX4" fmla="*/ 90376 w 174519"/>
              <a:gd name="connsiteY4" fmla="*/ 172650 h 174519"/>
              <a:gd name="connsiteX5" fmla="*/ 61705 w 174519"/>
              <a:gd name="connsiteY5" fmla="*/ 120294 h 174519"/>
              <a:gd name="connsiteX6" fmla="*/ 9349 w 174519"/>
              <a:gd name="connsiteY6" fmla="*/ 90376 h 174519"/>
              <a:gd name="connsiteX7" fmla="*/ 61705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0376" y="9349"/>
                </a:moveTo>
                <a:lnTo>
                  <a:pt x="120293" y="61705"/>
                </a:lnTo>
                <a:lnTo>
                  <a:pt x="172649" y="90376"/>
                </a:lnTo>
                <a:lnTo>
                  <a:pt x="120293" y="120294"/>
                </a:lnTo>
                <a:lnTo>
                  <a:pt x="90376" y="172650"/>
                </a:lnTo>
                <a:lnTo>
                  <a:pt x="61705" y="120294"/>
                </a:lnTo>
                <a:lnTo>
                  <a:pt x="9349" y="90376"/>
                </a:lnTo>
                <a:lnTo>
                  <a:pt x="61705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74ADDDBE-015C-4A58-9B41-315D6A95B2AC}"/>
              </a:ext>
            </a:extLst>
          </p:cNvPr>
          <p:cNvSpPr/>
          <p:nvPr userDrawn="1"/>
        </p:nvSpPr>
        <p:spPr>
          <a:xfrm>
            <a:off x="6322952" y="1133492"/>
            <a:ext cx="174520" cy="174520"/>
          </a:xfrm>
          <a:custGeom>
            <a:avLst/>
            <a:gdLst>
              <a:gd name="connsiteX0" fmla="*/ 91622 w 174519"/>
              <a:gd name="connsiteY0" fmla="*/ 9349 h 174519"/>
              <a:gd name="connsiteX1" fmla="*/ 120294 w 174519"/>
              <a:gd name="connsiteY1" fmla="*/ 61705 h 174519"/>
              <a:gd name="connsiteX2" fmla="*/ 173896 w 174519"/>
              <a:gd name="connsiteY2" fmla="*/ 91623 h 174519"/>
              <a:gd name="connsiteX3" fmla="*/ 120294 w 174519"/>
              <a:gd name="connsiteY3" fmla="*/ 120294 h 174519"/>
              <a:gd name="connsiteX4" fmla="*/ 91622 w 174519"/>
              <a:gd name="connsiteY4" fmla="*/ 172650 h 174519"/>
              <a:gd name="connsiteX5" fmla="*/ 62952 w 174519"/>
              <a:gd name="connsiteY5" fmla="*/ 120294 h 174519"/>
              <a:gd name="connsiteX6" fmla="*/ 9349 w 174519"/>
              <a:gd name="connsiteY6" fmla="*/ 91623 h 174519"/>
              <a:gd name="connsiteX7" fmla="*/ 62952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1622" y="9349"/>
                </a:moveTo>
                <a:lnTo>
                  <a:pt x="120294" y="61705"/>
                </a:lnTo>
                <a:lnTo>
                  <a:pt x="173896" y="91623"/>
                </a:lnTo>
                <a:lnTo>
                  <a:pt x="120294" y="120294"/>
                </a:lnTo>
                <a:lnTo>
                  <a:pt x="91622" y="172650"/>
                </a:lnTo>
                <a:lnTo>
                  <a:pt x="62952" y="120294"/>
                </a:lnTo>
                <a:lnTo>
                  <a:pt x="9349" y="91623"/>
                </a:lnTo>
                <a:lnTo>
                  <a:pt x="62952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3EB9E50-FDE8-4704-8D7C-7CCBE4E46566}"/>
              </a:ext>
            </a:extLst>
          </p:cNvPr>
          <p:cNvSpPr/>
          <p:nvPr userDrawn="1"/>
        </p:nvSpPr>
        <p:spPr>
          <a:xfrm>
            <a:off x="8445857" y="2131993"/>
            <a:ext cx="261779" cy="261779"/>
          </a:xfrm>
          <a:custGeom>
            <a:avLst/>
            <a:gdLst>
              <a:gd name="connsiteX0" fmla="*/ 134006 w 261779"/>
              <a:gd name="connsiteY0" fmla="*/ 9349 h 261779"/>
              <a:gd name="connsiteX1" fmla="*/ 177636 w 261779"/>
              <a:gd name="connsiteY1" fmla="*/ 90376 h 261779"/>
              <a:gd name="connsiteX2" fmla="*/ 258663 w 261779"/>
              <a:gd name="connsiteY2" fmla="*/ 135253 h 261779"/>
              <a:gd name="connsiteX3" fmla="*/ 177636 w 261779"/>
              <a:gd name="connsiteY3" fmla="*/ 178882 h 261779"/>
              <a:gd name="connsiteX4" fmla="*/ 134006 w 261779"/>
              <a:gd name="connsiteY4" fmla="*/ 259909 h 261779"/>
              <a:gd name="connsiteX5" fmla="*/ 89130 w 261779"/>
              <a:gd name="connsiteY5" fmla="*/ 178882 h 261779"/>
              <a:gd name="connsiteX6" fmla="*/ 9349 w 261779"/>
              <a:gd name="connsiteY6" fmla="*/ 135253 h 261779"/>
              <a:gd name="connsiteX7" fmla="*/ 89130 w 261779"/>
              <a:gd name="connsiteY7" fmla="*/ 90376 h 261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1779" h="261779">
                <a:moveTo>
                  <a:pt x="134006" y="9349"/>
                </a:moveTo>
                <a:lnTo>
                  <a:pt x="177636" y="90376"/>
                </a:lnTo>
                <a:lnTo>
                  <a:pt x="258663" y="135253"/>
                </a:lnTo>
                <a:lnTo>
                  <a:pt x="177636" y="178882"/>
                </a:lnTo>
                <a:lnTo>
                  <a:pt x="134006" y="259909"/>
                </a:lnTo>
                <a:lnTo>
                  <a:pt x="89130" y="178882"/>
                </a:lnTo>
                <a:lnTo>
                  <a:pt x="9349" y="135253"/>
                </a:lnTo>
                <a:lnTo>
                  <a:pt x="89130" y="90376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B5DA0BA0-0E8F-4E33-85EB-399E9484836C}"/>
              </a:ext>
            </a:extLst>
          </p:cNvPr>
          <p:cNvSpPr/>
          <p:nvPr userDrawn="1"/>
        </p:nvSpPr>
        <p:spPr>
          <a:xfrm>
            <a:off x="6600936" y="1499983"/>
            <a:ext cx="436299" cy="436299"/>
          </a:xfrm>
          <a:custGeom>
            <a:avLst/>
            <a:gdLst>
              <a:gd name="connsiteX0" fmla="*/ 222513 w 436298"/>
              <a:gd name="connsiteY0" fmla="*/ 9349 h 436298"/>
              <a:gd name="connsiteX1" fmla="*/ 221266 w 436298"/>
              <a:gd name="connsiteY1" fmla="*/ 11842 h 436298"/>
              <a:gd name="connsiteX2" fmla="*/ 217526 w 436298"/>
              <a:gd name="connsiteY2" fmla="*/ 19322 h 436298"/>
              <a:gd name="connsiteX3" fmla="*/ 203814 w 436298"/>
              <a:gd name="connsiteY3" fmla="*/ 46746 h 436298"/>
              <a:gd name="connsiteX4" fmla="*/ 151458 w 436298"/>
              <a:gd name="connsiteY4" fmla="*/ 145225 h 436298"/>
              <a:gd name="connsiteX5" fmla="*/ 151458 w 436298"/>
              <a:gd name="connsiteY5" fmla="*/ 145225 h 436298"/>
              <a:gd name="connsiteX6" fmla="*/ 151458 w 436298"/>
              <a:gd name="connsiteY6" fmla="*/ 145225 h 436298"/>
              <a:gd name="connsiteX7" fmla="*/ 16829 w 436298"/>
              <a:gd name="connsiteY7" fmla="*/ 220019 h 436298"/>
              <a:gd name="connsiteX8" fmla="*/ 16829 w 436298"/>
              <a:gd name="connsiteY8" fmla="*/ 215033 h 436298"/>
              <a:gd name="connsiteX9" fmla="*/ 151458 w 436298"/>
              <a:gd name="connsiteY9" fmla="*/ 288581 h 436298"/>
              <a:gd name="connsiteX10" fmla="*/ 152705 w 436298"/>
              <a:gd name="connsiteY10" fmla="*/ 288581 h 436298"/>
              <a:gd name="connsiteX11" fmla="*/ 152705 w 436298"/>
              <a:gd name="connsiteY11" fmla="*/ 289827 h 436298"/>
              <a:gd name="connsiteX12" fmla="*/ 226252 w 436298"/>
              <a:gd name="connsiteY12" fmla="*/ 424456 h 436298"/>
              <a:gd name="connsiteX13" fmla="*/ 220019 w 436298"/>
              <a:gd name="connsiteY13" fmla="*/ 424456 h 436298"/>
              <a:gd name="connsiteX14" fmla="*/ 220019 w 436298"/>
              <a:gd name="connsiteY14" fmla="*/ 424456 h 436298"/>
              <a:gd name="connsiteX15" fmla="*/ 220019 w 436298"/>
              <a:gd name="connsiteY15" fmla="*/ 424456 h 436298"/>
              <a:gd name="connsiteX16" fmla="*/ 220019 w 436298"/>
              <a:gd name="connsiteY16" fmla="*/ 424456 h 436298"/>
              <a:gd name="connsiteX17" fmla="*/ 220019 w 436298"/>
              <a:gd name="connsiteY17" fmla="*/ 424456 h 436298"/>
              <a:gd name="connsiteX18" fmla="*/ 220019 w 436298"/>
              <a:gd name="connsiteY18" fmla="*/ 424456 h 436298"/>
              <a:gd name="connsiteX19" fmla="*/ 220019 w 436298"/>
              <a:gd name="connsiteY19" fmla="*/ 423210 h 436298"/>
              <a:gd name="connsiteX20" fmla="*/ 221266 w 436298"/>
              <a:gd name="connsiteY20" fmla="*/ 420717 h 436298"/>
              <a:gd name="connsiteX21" fmla="*/ 223759 w 436298"/>
              <a:gd name="connsiteY21" fmla="*/ 416977 h 436298"/>
              <a:gd name="connsiteX22" fmla="*/ 228745 w 436298"/>
              <a:gd name="connsiteY22" fmla="*/ 408251 h 436298"/>
              <a:gd name="connsiteX23" fmla="*/ 238718 w 436298"/>
              <a:gd name="connsiteY23" fmla="*/ 390799 h 436298"/>
              <a:gd name="connsiteX24" fmla="*/ 257416 w 436298"/>
              <a:gd name="connsiteY24" fmla="*/ 357142 h 436298"/>
              <a:gd name="connsiteX25" fmla="*/ 293567 w 436298"/>
              <a:gd name="connsiteY25" fmla="*/ 291074 h 436298"/>
              <a:gd name="connsiteX26" fmla="*/ 293567 w 436298"/>
              <a:gd name="connsiteY26" fmla="*/ 289827 h 436298"/>
              <a:gd name="connsiteX27" fmla="*/ 294813 w 436298"/>
              <a:gd name="connsiteY27" fmla="*/ 289827 h 436298"/>
              <a:gd name="connsiteX28" fmla="*/ 429443 w 436298"/>
              <a:gd name="connsiteY28" fmla="*/ 216280 h 436298"/>
              <a:gd name="connsiteX29" fmla="*/ 429443 w 436298"/>
              <a:gd name="connsiteY29" fmla="*/ 221266 h 436298"/>
              <a:gd name="connsiteX30" fmla="*/ 294813 w 436298"/>
              <a:gd name="connsiteY30" fmla="*/ 146472 h 436298"/>
              <a:gd name="connsiteX31" fmla="*/ 294813 w 436298"/>
              <a:gd name="connsiteY31" fmla="*/ 146472 h 436298"/>
              <a:gd name="connsiteX32" fmla="*/ 294813 w 436298"/>
              <a:gd name="connsiteY32" fmla="*/ 146472 h 436298"/>
              <a:gd name="connsiteX33" fmla="*/ 242458 w 436298"/>
              <a:gd name="connsiteY33" fmla="*/ 47993 h 436298"/>
              <a:gd name="connsiteX34" fmla="*/ 228745 w 436298"/>
              <a:gd name="connsiteY34" fmla="*/ 20568 h 436298"/>
              <a:gd name="connsiteX35" fmla="*/ 225005 w 436298"/>
              <a:gd name="connsiteY35" fmla="*/ 13089 h 436298"/>
              <a:gd name="connsiteX36" fmla="*/ 222513 w 436298"/>
              <a:gd name="connsiteY36" fmla="*/ 9349 h 436298"/>
              <a:gd name="connsiteX37" fmla="*/ 227499 w 436298"/>
              <a:gd name="connsiteY37" fmla="*/ 18075 h 436298"/>
              <a:gd name="connsiteX38" fmla="*/ 242458 w 436298"/>
              <a:gd name="connsiteY38" fmla="*/ 44253 h 436298"/>
              <a:gd name="connsiteX39" fmla="*/ 298553 w 436298"/>
              <a:gd name="connsiteY39" fmla="*/ 142732 h 436298"/>
              <a:gd name="connsiteX40" fmla="*/ 297307 w 436298"/>
              <a:gd name="connsiteY40" fmla="*/ 141485 h 436298"/>
              <a:gd name="connsiteX41" fmla="*/ 431936 w 436298"/>
              <a:gd name="connsiteY41" fmla="*/ 215033 h 436298"/>
              <a:gd name="connsiteX42" fmla="*/ 436922 w 436298"/>
              <a:gd name="connsiteY42" fmla="*/ 217526 h 436298"/>
              <a:gd name="connsiteX43" fmla="*/ 431936 w 436298"/>
              <a:gd name="connsiteY43" fmla="*/ 220019 h 436298"/>
              <a:gd name="connsiteX44" fmla="*/ 297307 w 436298"/>
              <a:gd name="connsiteY44" fmla="*/ 293567 h 436298"/>
              <a:gd name="connsiteX45" fmla="*/ 298553 w 436298"/>
              <a:gd name="connsiteY45" fmla="*/ 292320 h 436298"/>
              <a:gd name="connsiteX46" fmla="*/ 262402 w 436298"/>
              <a:gd name="connsiteY46" fmla="*/ 358388 h 436298"/>
              <a:gd name="connsiteX47" fmla="*/ 243704 w 436298"/>
              <a:gd name="connsiteY47" fmla="*/ 392046 h 436298"/>
              <a:gd name="connsiteX48" fmla="*/ 233732 w 436298"/>
              <a:gd name="connsiteY48" fmla="*/ 409498 h 436298"/>
              <a:gd name="connsiteX49" fmla="*/ 228745 w 436298"/>
              <a:gd name="connsiteY49" fmla="*/ 418224 h 436298"/>
              <a:gd name="connsiteX50" fmla="*/ 226252 w 436298"/>
              <a:gd name="connsiteY50" fmla="*/ 421963 h 436298"/>
              <a:gd name="connsiteX51" fmla="*/ 227499 w 436298"/>
              <a:gd name="connsiteY51" fmla="*/ 425703 h 436298"/>
              <a:gd name="connsiteX52" fmla="*/ 227499 w 436298"/>
              <a:gd name="connsiteY52" fmla="*/ 426950 h 436298"/>
              <a:gd name="connsiteX53" fmla="*/ 227499 w 436298"/>
              <a:gd name="connsiteY53" fmla="*/ 426950 h 436298"/>
              <a:gd name="connsiteX54" fmla="*/ 227499 w 436298"/>
              <a:gd name="connsiteY54" fmla="*/ 426950 h 436298"/>
              <a:gd name="connsiteX55" fmla="*/ 227499 w 436298"/>
              <a:gd name="connsiteY55" fmla="*/ 426950 h 436298"/>
              <a:gd name="connsiteX56" fmla="*/ 227499 w 436298"/>
              <a:gd name="connsiteY56" fmla="*/ 426950 h 436298"/>
              <a:gd name="connsiteX57" fmla="*/ 227499 w 436298"/>
              <a:gd name="connsiteY57" fmla="*/ 426950 h 436298"/>
              <a:gd name="connsiteX58" fmla="*/ 221266 w 436298"/>
              <a:gd name="connsiteY58" fmla="*/ 426950 h 436298"/>
              <a:gd name="connsiteX59" fmla="*/ 147718 w 436298"/>
              <a:gd name="connsiteY59" fmla="*/ 292320 h 436298"/>
              <a:gd name="connsiteX60" fmla="*/ 148965 w 436298"/>
              <a:gd name="connsiteY60" fmla="*/ 293567 h 436298"/>
              <a:gd name="connsiteX61" fmla="*/ 14335 w 436298"/>
              <a:gd name="connsiteY61" fmla="*/ 220019 h 436298"/>
              <a:gd name="connsiteX62" fmla="*/ 9349 w 436298"/>
              <a:gd name="connsiteY62" fmla="*/ 217526 h 436298"/>
              <a:gd name="connsiteX63" fmla="*/ 14335 w 436298"/>
              <a:gd name="connsiteY63" fmla="*/ 215033 h 436298"/>
              <a:gd name="connsiteX64" fmla="*/ 148965 w 436298"/>
              <a:gd name="connsiteY64" fmla="*/ 141485 h 436298"/>
              <a:gd name="connsiteX65" fmla="*/ 147718 w 436298"/>
              <a:gd name="connsiteY65" fmla="*/ 142732 h 436298"/>
              <a:gd name="connsiteX66" fmla="*/ 203814 w 436298"/>
              <a:gd name="connsiteY66" fmla="*/ 44253 h 436298"/>
              <a:gd name="connsiteX67" fmla="*/ 218773 w 436298"/>
              <a:gd name="connsiteY67" fmla="*/ 18075 h 436298"/>
              <a:gd name="connsiteX68" fmla="*/ 222513 w 436298"/>
              <a:gd name="connsiteY68" fmla="*/ 9349 h 436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436298" h="436298">
                <a:moveTo>
                  <a:pt x="222513" y="9349"/>
                </a:moveTo>
                <a:cubicBezTo>
                  <a:pt x="222513" y="9349"/>
                  <a:pt x="222513" y="10596"/>
                  <a:pt x="221266" y="11842"/>
                </a:cubicBezTo>
                <a:cubicBezTo>
                  <a:pt x="220019" y="14336"/>
                  <a:pt x="218773" y="15582"/>
                  <a:pt x="217526" y="19322"/>
                </a:cubicBezTo>
                <a:cubicBezTo>
                  <a:pt x="213786" y="25555"/>
                  <a:pt x="208800" y="35527"/>
                  <a:pt x="203814" y="46746"/>
                </a:cubicBezTo>
                <a:cubicBezTo>
                  <a:pt x="191348" y="70431"/>
                  <a:pt x="173896" y="104088"/>
                  <a:pt x="151458" y="145225"/>
                </a:cubicBezTo>
                <a:lnTo>
                  <a:pt x="151458" y="145225"/>
                </a:lnTo>
                <a:lnTo>
                  <a:pt x="151458" y="145225"/>
                </a:lnTo>
                <a:cubicBezTo>
                  <a:pt x="114061" y="166417"/>
                  <a:pt x="67938" y="191348"/>
                  <a:pt x="16829" y="220019"/>
                </a:cubicBezTo>
                <a:lnTo>
                  <a:pt x="16829" y="215033"/>
                </a:lnTo>
                <a:cubicBezTo>
                  <a:pt x="57965" y="237471"/>
                  <a:pt x="102842" y="262403"/>
                  <a:pt x="151458" y="288581"/>
                </a:cubicBezTo>
                <a:lnTo>
                  <a:pt x="152705" y="288581"/>
                </a:lnTo>
                <a:lnTo>
                  <a:pt x="152705" y="289827"/>
                </a:lnTo>
                <a:cubicBezTo>
                  <a:pt x="176389" y="332210"/>
                  <a:pt x="201321" y="377087"/>
                  <a:pt x="226252" y="424456"/>
                </a:cubicBezTo>
                <a:cubicBezTo>
                  <a:pt x="223759" y="424456"/>
                  <a:pt x="232485" y="424456"/>
                  <a:pt x="220019" y="424456"/>
                </a:cubicBezTo>
                <a:lnTo>
                  <a:pt x="220019" y="424456"/>
                </a:lnTo>
                <a:lnTo>
                  <a:pt x="220019" y="424456"/>
                </a:lnTo>
                <a:lnTo>
                  <a:pt x="220019" y="424456"/>
                </a:lnTo>
                <a:lnTo>
                  <a:pt x="220019" y="424456"/>
                </a:lnTo>
                <a:lnTo>
                  <a:pt x="220019" y="424456"/>
                </a:lnTo>
                <a:lnTo>
                  <a:pt x="220019" y="423210"/>
                </a:lnTo>
                <a:lnTo>
                  <a:pt x="221266" y="420717"/>
                </a:lnTo>
                <a:lnTo>
                  <a:pt x="223759" y="416977"/>
                </a:lnTo>
                <a:lnTo>
                  <a:pt x="228745" y="408251"/>
                </a:lnTo>
                <a:cubicBezTo>
                  <a:pt x="232485" y="402018"/>
                  <a:pt x="234978" y="397032"/>
                  <a:pt x="238718" y="390799"/>
                </a:cubicBezTo>
                <a:cubicBezTo>
                  <a:pt x="244951" y="379580"/>
                  <a:pt x="251183" y="368361"/>
                  <a:pt x="257416" y="357142"/>
                </a:cubicBezTo>
                <a:cubicBezTo>
                  <a:pt x="269882" y="334704"/>
                  <a:pt x="282348" y="312265"/>
                  <a:pt x="293567" y="291074"/>
                </a:cubicBezTo>
                <a:lnTo>
                  <a:pt x="293567" y="289827"/>
                </a:lnTo>
                <a:lnTo>
                  <a:pt x="294813" y="289827"/>
                </a:lnTo>
                <a:cubicBezTo>
                  <a:pt x="342183" y="263649"/>
                  <a:pt x="388306" y="238718"/>
                  <a:pt x="429443" y="216280"/>
                </a:cubicBezTo>
                <a:lnTo>
                  <a:pt x="429443" y="221266"/>
                </a:lnTo>
                <a:cubicBezTo>
                  <a:pt x="378334" y="192595"/>
                  <a:pt x="333457" y="167663"/>
                  <a:pt x="294813" y="146472"/>
                </a:cubicBezTo>
                <a:lnTo>
                  <a:pt x="294813" y="146472"/>
                </a:lnTo>
                <a:lnTo>
                  <a:pt x="294813" y="146472"/>
                </a:lnTo>
                <a:cubicBezTo>
                  <a:pt x="272375" y="104088"/>
                  <a:pt x="254923" y="71678"/>
                  <a:pt x="242458" y="47993"/>
                </a:cubicBezTo>
                <a:cubicBezTo>
                  <a:pt x="236225" y="36774"/>
                  <a:pt x="231238" y="28048"/>
                  <a:pt x="228745" y="20568"/>
                </a:cubicBezTo>
                <a:cubicBezTo>
                  <a:pt x="227499" y="18075"/>
                  <a:pt x="226252" y="15582"/>
                  <a:pt x="225005" y="13089"/>
                </a:cubicBezTo>
                <a:cubicBezTo>
                  <a:pt x="223759" y="10596"/>
                  <a:pt x="222513" y="9349"/>
                  <a:pt x="222513" y="9349"/>
                </a:cubicBezTo>
                <a:cubicBezTo>
                  <a:pt x="222513" y="9349"/>
                  <a:pt x="223759" y="11842"/>
                  <a:pt x="227499" y="18075"/>
                </a:cubicBezTo>
                <a:cubicBezTo>
                  <a:pt x="231238" y="24308"/>
                  <a:pt x="236225" y="33034"/>
                  <a:pt x="242458" y="44253"/>
                </a:cubicBezTo>
                <a:cubicBezTo>
                  <a:pt x="256170" y="67938"/>
                  <a:pt x="274868" y="101595"/>
                  <a:pt x="298553" y="142732"/>
                </a:cubicBezTo>
                <a:lnTo>
                  <a:pt x="297307" y="141485"/>
                </a:lnTo>
                <a:cubicBezTo>
                  <a:pt x="335950" y="162677"/>
                  <a:pt x="380826" y="186362"/>
                  <a:pt x="431936" y="215033"/>
                </a:cubicBezTo>
                <a:lnTo>
                  <a:pt x="436922" y="217526"/>
                </a:lnTo>
                <a:lnTo>
                  <a:pt x="431936" y="220019"/>
                </a:lnTo>
                <a:cubicBezTo>
                  <a:pt x="390799" y="242458"/>
                  <a:pt x="345923" y="267389"/>
                  <a:pt x="297307" y="293567"/>
                </a:cubicBezTo>
                <a:lnTo>
                  <a:pt x="298553" y="292320"/>
                </a:lnTo>
                <a:cubicBezTo>
                  <a:pt x="287334" y="313512"/>
                  <a:pt x="274868" y="335950"/>
                  <a:pt x="262402" y="358388"/>
                </a:cubicBezTo>
                <a:cubicBezTo>
                  <a:pt x="256170" y="369608"/>
                  <a:pt x="249937" y="380827"/>
                  <a:pt x="243704" y="392046"/>
                </a:cubicBezTo>
                <a:cubicBezTo>
                  <a:pt x="239964" y="398279"/>
                  <a:pt x="237471" y="403265"/>
                  <a:pt x="233732" y="409498"/>
                </a:cubicBezTo>
                <a:lnTo>
                  <a:pt x="228745" y="418224"/>
                </a:lnTo>
                <a:lnTo>
                  <a:pt x="226252" y="421963"/>
                </a:lnTo>
                <a:lnTo>
                  <a:pt x="227499" y="425703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cubicBezTo>
                  <a:pt x="216280" y="426950"/>
                  <a:pt x="223759" y="426950"/>
                  <a:pt x="221266" y="426950"/>
                </a:cubicBezTo>
                <a:cubicBezTo>
                  <a:pt x="196335" y="379580"/>
                  <a:pt x="171403" y="334704"/>
                  <a:pt x="147718" y="292320"/>
                </a:cubicBezTo>
                <a:lnTo>
                  <a:pt x="148965" y="293567"/>
                </a:lnTo>
                <a:cubicBezTo>
                  <a:pt x="100349" y="267389"/>
                  <a:pt x="55472" y="242458"/>
                  <a:pt x="14335" y="220019"/>
                </a:cubicBezTo>
                <a:lnTo>
                  <a:pt x="9349" y="217526"/>
                </a:lnTo>
                <a:lnTo>
                  <a:pt x="14335" y="215033"/>
                </a:lnTo>
                <a:cubicBezTo>
                  <a:pt x="65445" y="187609"/>
                  <a:pt x="111568" y="162677"/>
                  <a:pt x="148965" y="141485"/>
                </a:cubicBezTo>
                <a:lnTo>
                  <a:pt x="147718" y="142732"/>
                </a:lnTo>
                <a:cubicBezTo>
                  <a:pt x="171403" y="100349"/>
                  <a:pt x="190102" y="67938"/>
                  <a:pt x="203814" y="44253"/>
                </a:cubicBezTo>
                <a:cubicBezTo>
                  <a:pt x="210047" y="33034"/>
                  <a:pt x="215033" y="24308"/>
                  <a:pt x="218773" y="18075"/>
                </a:cubicBezTo>
                <a:cubicBezTo>
                  <a:pt x="221266" y="11842"/>
                  <a:pt x="222513" y="9349"/>
                  <a:pt x="222513" y="9349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608E9F66-DDAD-4314-BAA7-2524CE4C49DF}"/>
              </a:ext>
            </a:extLst>
          </p:cNvPr>
          <p:cNvSpPr/>
          <p:nvPr userDrawn="1"/>
        </p:nvSpPr>
        <p:spPr>
          <a:xfrm>
            <a:off x="9565276" y="2509704"/>
            <a:ext cx="186985" cy="186985"/>
          </a:xfrm>
          <a:custGeom>
            <a:avLst/>
            <a:gdLst>
              <a:gd name="connsiteX0" fmla="*/ 92869 w 186985"/>
              <a:gd name="connsiteY0" fmla="*/ 9349 h 186985"/>
              <a:gd name="connsiteX1" fmla="*/ 122787 w 186985"/>
              <a:gd name="connsiteY1" fmla="*/ 64198 h 186985"/>
              <a:gd name="connsiteX2" fmla="*/ 177636 w 186985"/>
              <a:gd name="connsiteY2" fmla="*/ 94116 h 186985"/>
              <a:gd name="connsiteX3" fmla="*/ 122787 w 186985"/>
              <a:gd name="connsiteY3" fmla="*/ 124034 h 186985"/>
              <a:gd name="connsiteX4" fmla="*/ 92869 w 186985"/>
              <a:gd name="connsiteY4" fmla="*/ 178882 h 186985"/>
              <a:gd name="connsiteX5" fmla="*/ 62952 w 186985"/>
              <a:gd name="connsiteY5" fmla="*/ 124034 h 186985"/>
              <a:gd name="connsiteX6" fmla="*/ 9349 w 186985"/>
              <a:gd name="connsiteY6" fmla="*/ 94116 h 186985"/>
              <a:gd name="connsiteX7" fmla="*/ 62952 w 186985"/>
              <a:gd name="connsiteY7" fmla="*/ 64198 h 186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6985" h="186985">
                <a:moveTo>
                  <a:pt x="92869" y="9349"/>
                </a:moveTo>
                <a:lnTo>
                  <a:pt x="122787" y="64198"/>
                </a:lnTo>
                <a:lnTo>
                  <a:pt x="177636" y="94116"/>
                </a:lnTo>
                <a:lnTo>
                  <a:pt x="122787" y="124034"/>
                </a:lnTo>
                <a:lnTo>
                  <a:pt x="92869" y="178882"/>
                </a:lnTo>
                <a:lnTo>
                  <a:pt x="62952" y="124034"/>
                </a:lnTo>
                <a:lnTo>
                  <a:pt x="9349" y="94116"/>
                </a:lnTo>
                <a:lnTo>
                  <a:pt x="62952" y="64198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D8B503E9-EC4A-4F80-9847-D59074AFD3B9}"/>
              </a:ext>
            </a:extLst>
          </p:cNvPr>
          <p:cNvSpPr/>
          <p:nvPr userDrawn="1"/>
        </p:nvSpPr>
        <p:spPr>
          <a:xfrm>
            <a:off x="2424122" y="1674502"/>
            <a:ext cx="99725" cy="87260"/>
          </a:xfrm>
          <a:custGeom>
            <a:avLst/>
            <a:gdLst>
              <a:gd name="connsiteX0" fmla="*/ 49240 w 99725"/>
              <a:gd name="connsiteY0" fmla="*/ 9349 h 87259"/>
              <a:gd name="connsiteX1" fmla="*/ 64198 w 99725"/>
              <a:gd name="connsiteY1" fmla="*/ 34281 h 87259"/>
              <a:gd name="connsiteX2" fmla="*/ 90376 w 99725"/>
              <a:gd name="connsiteY2" fmla="*/ 49239 h 87259"/>
              <a:gd name="connsiteX3" fmla="*/ 64198 w 99725"/>
              <a:gd name="connsiteY3" fmla="*/ 62952 h 87259"/>
              <a:gd name="connsiteX4" fmla="*/ 49240 w 99725"/>
              <a:gd name="connsiteY4" fmla="*/ 89130 h 87259"/>
              <a:gd name="connsiteX5" fmla="*/ 35527 w 99725"/>
              <a:gd name="connsiteY5" fmla="*/ 62952 h 87259"/>
              <a:gd name="connsiteX6" fmla="*/ 9349 w 99725"/>
              <a:gd name="connsiteY6" fmla="*/ 49239 h 87259"/>
              <a:gd name="connsiteX7" fmla="*/ 35527 w 99725"/>
              <a:gd name="connsiteY7" fmla="*/ 34281 h 87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87259">
                <a:moveTo>
                  <a:pt x="49240" y="9349"/>
                </a:moveTo>
                <a:lnTo>
                  <a:pt x="64198" y="34281"/>
                </a:lnTo>
                <a:lnTo>
                  <a:pt x="90376" y="49239"/>
                </a:lnTo>
                <a:lnTo>
                  <a:pt x="64198" y="62952"/>
                </a:lnTo>
                <a:lnTo>
                  <a:pt x="49240" y="89130"/>
                </a:lnTo>
                <a:lnTo>
                  <a:pt x="35527" y="62952"/>
                </a:lnTo>
                <a:lnTo>
                  <a:pt x="9349" y="49239"/>
                </a:lnTo>
                <a:lnTo>
                  <a:pt x="35527" y="34281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212AC352-4F8E-4162-8D5D-CE4EF0A24B90}"/>
              </a:ext>
            </a:extLst>
          </p:cNvPr>
          <p:cNvSpPr/>
          <p:nvPr userDrawn="1"/>
        </p:nvSpPr>
        <p:spPr>
          <a:xfrm>
            <a:off x="10732064" y="840549"/>
            <a:ext cx="99725" cy="87260"/>
          </a:xfrm>
          <a:custGeom>
            <a:avLst/>
            <a:gdLst>
              <a:gd name="connsiteX0" fmla="*/ 49239 w 99725"/>
              <a:gd name="connsiteY0" fmla="*/ 9349 h 87259"/>
              <a:gd name="connsiteX1" fmla="*/ 64198 w 99725"/>
              <a:gd name="connsiteY1" fmla="*/ 35527 h 87259"/>
              <a:gd name="connsiteX2" fmla="*/ 90376 w 99725"/>
              <a:gd name="connsiteY2" fmla="*/ 49239 h 87259"/>
              <a:gd name="connsiteX3" fmla="*/ 64198 w 99725"/>
              <a:gd name="connsiteY3" fmla="*/ 64198 h 87259"/>
              <a:gd name="connsiteX4" fmla="*/ 49239 w 99725"/>
              <a:gd name="connsiteY4" fmla="*/ 90376 h 87259"/>
              <a:gd name="connsiteX5" fmla="*/ 35527 w 99725"/>
              <a:gd name="connsiteY5" fmla="*/ 64198 h 87259"/>
              <a:gd name="connsiteX6" fmla="*/ 9349 w 99725"/>
              <a:gd name="connsiteY6" fmla="*/ 49239 h 87259"/>
              <a:gd name="connsiteX7" fmla="*/ 35527 w 99725"/>
              <a:gd name="connsiteY7" fmla="*/ 35527 h 87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87259">
                <a:moveTo>
                  <a:pt x="49239" y="9349"/>
                </a:moveTo>
                <a:lnTo>
                  <a:pt x="64198" y="35527"/>
                </a:lnTo>
                <a:lnTo>
                  <a:pt x="90376" y="49239"/>
                </a:lnTo>
                <a:lnTo>
                  <a:pt x="64198" y="64198"/>
                </a:lnTo>
                <a:lnTo>
                  <a:pt x="49239" y="90376"/>
                </a:lnTo>
                <a:lnTo>
                  <a:pt x="35527" y="64198"/>
                </a:lnTo>
                <a:lnTo>
                  <a:pt x="9349" y="49239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AAF4DFB2-7604-482F-93D4-065C413FB7AB}"/>
              </a:ext>
            </a:extLst>
          </p:cNvPr>
          <p:cNvSpPr/>
          <p:nvPr userDrawn="1"/>
        </p:nvSpPr>
        <p:spPr>
          <a:xfrm>
            <a:off x="7567027" y="1379066"/>
            <a:ext cx="99725" cy="99725"/>
          </a:xfrm>
          <a:custGeom>
            <a:avLst/>
            <a:gdLst>
              <a:gd name="connsiteX0" fmla="*/ 50486 w 99725"/>
              <a:gd name="connsiteY0" fmla="*/ 9349 h 99725"/>
              <a:gd name="connsiteX1" fmla="*/ 64198 w 99725"/>
              <a:gd name="connsiteY1" fmla="*/ 35527 h 99725"/>
              <a:gd name="connsiteX2" fmla="*/ 90376 w 99725"/>
              <a:gd name="connsiteY2" fmla="*/ 50486 h 99725"/>
              <a:gd name="connsiteX3" fmla="*/ 64198 w 99725"/>
              <a:gd name="connsiteY3" fmla="*/ 64198 h 99725"/>
              <a:gd name="connsiteX4" fmla="*/ 50486 w 99725"/>
              <a:gd name="connsiteY4" fmla="*/ 90376 h 99725"/>
              <a:gd name="connsiteX5" fmla="*/ 35527 w 99725"/>
              <a:gd name="connsiteY5" fmla="*/ 64198 h 99725"/>
              <a:gd name="connsiteX6" fmla="*/ 9349 w 99725"/>
              <a:gd name="connsiteY6" fmla="*/ 50486 h 99725"/>
              <a:gd name="connsiteX7" fmla="*/ 35527 w 99725"/>
              <a:gd name="connsiteY7" fmla="*/ 35527 h 9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99725">
                <a:moveTo>
                  <a:pt x="50486" y="9349"/>
                </a:moveTo>
                <a:lnTo>
                  <a:pt x="64198" y="35527"/>
                </a:lnTo>
                <a:lnTo>
                  <a:pt x="90376" y="50486"/>
                </a:lnTo>
                <a:lnTo>
                  <a:pt x="64198" y="64198"/>
                </a:lnTo>
                <a:lnTo>
                  <a:pt x="50486" y="90376"/>
                </a:lnTo>
                <a:lnTo>
                  <a:pt x="35527" y="64198"/>
                </a:lnTo>
                <a:lnTo>
                  <a:pt x="9349" y="50486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74F14CF9-63FC-4AD7-848A-94B507DECC6F}"/>
              </a:ext>
            </a:extLst>
          </p:cNvPr>
          <p:cNvSpPr/>
          <p:nvPr userDrawn="1"/>
        </p:nvSpPr>
        <p:spPr>
          <a:xfrm>
            <a:off x="7024257" y="4612208"/>
            <a:ext cx="174520" cy="174520"/>
          </a:xfrm>
          <a:custGeom>
            <a:avLst/>
            <a:gdLst>
              <a:gd name="connsiteX0" fmla="*/ 91623 w 174519"/>
              <a:gd name="connsiteY0" fmla="*/ 9349 h 174519"/>
              <a:gd name="connsiteX1" fmla="*/ 120294 w 174519"/>
              <a:gd name="connsiteY1" fmla="*/ 61705 h 174519"/>
              <a:gd name="connsiteX2" fmla="*/ 173896 w 174519"/>
              <a:gd name="connsiteY2" fmla="*/ 90376 h 174519"/>
              <a:gd name="connsiteX3" fmla="*/ 120294 w 174519"/>
              <a:gd name="connsiteY3" fmla="*/ 120294 h 174519"/>
              <a:gd name="connsiteX4" fmla="*/ 91623 w 174519"/>
              <a:gd name="connsiteY4" fmla="*/ 172650 h 174519"/>
              <a:gd name="connsiteX5" fmla="*/ 62952 w 174519"/>
              <a:gd name="connsiteY5" fmla="*/ 120294 h 174519"/>
              <a:gd name="connsiteX6" fmla="*/ 9349 w 174519"/>
              <a:gd name="connsiteY6" fmla="*/ 90376 h 174519"/>
              <a:gd name="connsiteX7" fmla="*/ 62952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1623" y="9349"/>
                </a:moveTo>
                <a:lnTo>
                  <a:pt x="120294" y="61705"/>
                </a:lnTo>
                <a:lnTo>
                  <a:pt x="173896" y="90376"/>
                </a:lnTo>
                <a:lnTo>
                  <a:pt x="120294" y="120294"/>
                </a:lnTo>
                <a:lnTo>
                  <a:pt x="91623" y="172650"/>
                </a:lnTo>
                <a:lnTo>
                  <a:pt x="62952" y="120294"/>
                </a:lnTo>
                <a:lnTo>
                  <a:pt x="9349" y="90376"/>
                </a:lnTo>
                <a:lnTo>
                  <a:pt x="62952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56C05308-9182-4BE7-B4F4-FE825B8AFA5A}"/>
              </a:ext>
            </a:extLst>
          </p:cNvPr>
          <p:cNvSpPr/>
          <p:nvPr userDrawn="1"/>
        </p:nvSpPr>
        <p:spPr>
          <a:xfrm>
            <a:off x="7746020" y="4789221"/>
            <a:ext cx="99725" cy="99725"/>
          </a:xfrm>
          <a:custGeom>
            <a:avLst/>
            <a:gdLst>
              <a:gd name="connsiteX0" fmla="*/ 49240 w 99725"/>
              <a:gd name="connsiteY0" fmla="*/ 9349 h 99725"/>
              <a:gd name="connsiteX1" fmla="*/ 64199 w 99725"/>
              <a:gd name="connsiteY1" fmla="*/ 35527 h 99725"/>
              <a:gd name="connsiteX2" fmla="*/ 90376 w 99725"/>
              <a:gd name="connsiteY2" fmla="*/ 49240 h 99725"/>
              <a:gd name="connsiteX3" fmla="*/ 64199 w 99725"/>
              <a:gd name="connsiteY3" fmla="*/ 64199 h 99725"/>
              <a:gd name="connsiteX4" fmla="*/ 49240 w 99725"/>
              <a:gd name="connsiteY4" fmla="*/ 90376 h 99725"/>
              <a:gd name="connsiteX5" fmla="*/ 35527 w 99725"/>
              <a:gd name="connsiteY5" fmla="*/ 64199 h 99725"/>
              <a:gd name="connsiteX6" fmla="*/ 9349 w 99725"/>
              <a:gd name="connsiteY6" fmla="*/ 49240 h 99725"/>
              <a:gd name="connsiteX7" fmla="*/ 35527 w 99725"/>
              <a:gd name="connsiteY7" fmla="*/ 35527 h 9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99725">
                <a:moveTo>
                  <a:pt x="49240" y="9349"/>
                </a:moveTo>
                <a:lnTo>
                  <a:pt x="64199" y="35527"/>
                </a:lnTo>
                <a:lnTo>
                  <a:pt x="90376" y="49240"/>
                </a:lnTo>
                <a:lnTo>
                  <a:pt x="64199" y="64199"/>
                </a:lnTo>
                <a:lnTo>
                  <a:pt x="49240" y="90376"/>
                </a:lnTo>
                <a:lnTo>
                  <a:pt x="35527" y="64199"/>
                </a:lnTo>
                <a:lnTo>
                  <a:pt x="9349" y="49240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9D034029-8435-4479-949D-EF09042A3791}"/>
              </a:ext>
            </a:extLst>
          </p:cNvPr>
          <p:cNvSpPr/>
          <p:nvPr userDrawn="1"/>
        </p:nvSpPr>
        <p:spPr>
          <a:xfrm>
            <a:off x="9181991" y="1623393"/>
            <a:ext cx="486162" cy="486162"/>
          </a:xfrm>
          <a:custGeom>
            <a:avLst/>
            <a:gdLst>
              <a:gd name="connsiteX0" fmla="*/ 479894 w 486161"/>
              <a:gd name="connsiteY0" fmla="*/ 479305 h 486161"/>
              <a:gd name="connsiteX1" fmla="*/ 479894 w 486161"/>
              <a:gd name="connsiteY1" fmla="*/ 476812 h 486161"/>
              <a:gd name="connsiteX2" fmla="*/ 479894 w 486161"/>
              <a:gd name="connsiteY2" fmla="*/ 470580 h 486161"/>
              <a:gd name="connsiteX3" fmla="*/ 479894 w 486161"/>
              <a:gd name="connsiteY3" fmla="*/ 445648 h 486161"/>
              <a:gd name="connsiteX4" fmla="*/ 478648 w 486161"/>
              <a:gd name="connsiteY4" fmla="*/ 350909 h 486161"/>
              <a:gd name="connsiteX5" fmla="*/ 477401 w 486161"/>
              <a:gd name="connsiteY5" fmla="*/ 13089 h 486161"/>
              <a:gd name="connsiteX6" fmla="*/ 479894 w 486161"/>
              <a:gd name="connsiteY6" fmla="*/ 15582 h 486161"/>
              <a:gd name="connsiteX7" fmla="*/ 12431 w 486161"/>
              <a:gd name="connsiteY7" fmla="*/ 15582 h 486161"/>
              <a:gd name="connsiteX8" fmla="*/ 16171 w 486161"/>
              <a:gd name="connsiteY8" fmla="*/ 11842 h 486161"/>
              <a:gd name="connsiteX9" fmla="*/ 16171 w 486161"/>
              <a:gd name="connsiteY9" fmla="*/ 11842 h 486161"/>
              <a:gd name="connsiteX10" fmla="*/ 16171 w 486161"/>
              <a:gd name="connsiteY10" fmla="*/ 11842 h 486161"/>
              <a:gd name="connsiteX11" fmla="*/ 16171 w 486161"/>
              <a:gd name="connsiteY11" fmla="*/ 11842 h 486161"/>
              <a:gd name="connsiteX12" fmla="*/ 16171 w 486161"/>
              <a:gd name="connsiteY12" fmla="*/ 13089 h 486161"/>
              <a:gd name="connsiteX13" fmla="*/ 16171 w 486161"/>
              <a:gd name="connsiteY13" fmla="*/ 15582 h 486161"/>
              <a:gd name="connsiteX14" fmla="*/ 16171 w 486161"/>
              <a:gd name="connsiteY14" fmla="*/ 19322 h 486161"/>
              <a:gd name="connsiteX15" fmla="*/ 16171 w 486161"/>
              <a:gd name="connsiteY15" fmla="*/ 26801 h 486161"/>
              <a:gd name="connsiteX16" fmla="*/ 16171 w 486161"/>
              <a:gd name="connsiteY16" fmla="*/ 43007 h 486161"/>
              <a:gd name="connsiteX17" fmla="*/ 16171 w 486161"/>
              <a:gd name="connsiteY17" fmla="*/ 74171 h 486161"/>
              <a:gd name="connsiteX18" fmla="*/ 16171 w 486161"/>
              <a:gd name="connsiteY18" fmla="*/ 136499 h 486161"/>
              <a:gd name="connsiteX19" fmla="*/ 16171 w 486161"/>
              <a:gd name="connsiteY19" fmla="*/ 257416 h 486161"/>
              <a:gd name="connsiteX20" fmla="*/ 16171 w 486161"/>
              <a:gd name="connsiteY20" fmla="*/ 478059 h 486161"/>
              <a:gd name="connsiteX21" fmla="*/ 13678 w 486161"/>
              <a:gd name="connsiteY21" fmla="*/ 475566 h 486161"/>
              <a:gd name="connsiteX22" fmla="*/ 351498 w 486161"/>
              <a:gd name="connsiteY22" fmla="*/ 476812 h 486161"/>
              <a:gd name="connsiteX23" fmla="*/ 446237 w 486161"/>
              <a:gd name="connsiteY23" fmla="*/ 478059 h 486161"/>
              <a:gd name="connsiteX24" fmla="*/ 471168 w 486161"/>
              <a:gd name="connsiteY24" fmla="*/ 478059 h 486161"/>
              <a:gd name="connsiteX25" fmla="*/ 477401 w 486161"/>
              <a:gd name="connsiteY25" fmla="*/ 478059 h 486161"/>
              <a:gd name="connsiteX26" fmla="*/ 479894 w 486161"/>
              <a:gd name="connsiteY26" fmla="*/ 479305 h 486161"/>
              <a:gd name="connsiteX27" fmla="*/ 477401 w 486161"/>
              <a:gd name="connsiteY27" fmla="*/ 479305 h 486161"/>
              <a:gd name="connsiteX28" fmla="*/ 471168 w 486161"/>
              <a:gd name="connsiteY28" fmla="*/ 479305 h 486161"/>
              <a:gd name="connsiteX29" fmla="*/ 446237 w 486161"/>
              <a:gd name="connsiteY29" fmla="*/ 479305 h 486161"/>
              <a:gd name="connsiteX30" fmla="*/ 351498 w 486161"/>
              <a:gd name="connsiteY30" fmla="*/ 480552 h 486161"/>
              <a:gd name="connsiteX31" fmla="*/ 12431 w 486161"/>
              <a:gd name="connsiteY31" fmla="*/ 481799 h 486161"/>
              <a:gd name="connsiteX32" fmla="*/ 9938 w 486161"/>
              <a:gd name="connsiteY32" fmla="*/ 481799 h 486161"/>
              <a:gd name="connsiteX33" fmla="*/ 9938 w 486161"/>
              <a:gd name="connsiteY33" fmla="*/ 479305 h 486161"/>
              <a:gd name="connsiteX34" fmla="*/ 9938 w 486161"/>
              <a:gd name="connsiteY34" fmla="*/ 258663 h 486161"/>
              <a:gd name="connsiteX35" fmla="*/ 9938 w 486161"/>
              <a:gd name="connsiteY35" fmla="*/ 137746 h 486161"/>
              <a:gd name="connsiteX36" fmla="*/ 9938 w 486161"/>
              <a:gd name="connsiteY36" fmla="*/ 75417 h 486161"/>
              <a:gd name="connsiteX37" fmla="*/ 9938 w 486161"/>
              <a:gd name="connsiteY37" fmla="*/ 44253 h 486161"/>
              <a:gd name="connsiteX38" fmla="*/ 9938 w 486161"/>
              <a:gd name="connsiteY38" fmla="*/ 28048 h 486161"/>
              <a:gd name="connsiteX39" fmla="*/ 9938 w 486161"/>
              <a:gd name="connsiteY39" fmla="*/ 20568 h 486161"/>
              <a:gd name="connsiteX40" fmla="*/ 9938 w 486161"/>
              <a:gd name="connsiteY40" fmla="*/ 16829 h 486161"/>
              <a:gd name="connsiteX41" fmla="*/ 9938 w 486161"/>
              <a:gd name="connsiteY41" fmla="*/ 14336 h 486161"/>
              <a:gd name="connsiteX42" fmla="*/ 9938 w 486161"/>
              <a:gd name="connsiteY42" fmla="*/ 13089 h 486161"/>
              <a:gd name="connsiteX43" fmla="*/ 9938 w 486161"/>
              <a:gd name="connsiteY43" fmla="*/ 13089 h 486161"/>
              <a:gd name="connsiteX44" fmla="*/ 9938 w 486161"/>
              <a:gd name="connsiteY44" fmla="*/ 13089 h 486161"/>
              <a:gd name="connsiteX45" fmla="*/ 9938 w 486161"/>
              <a:gd name="connsiteY45" fmla="*/ 13089 h 486161"/>
              <a:gd name="connsiteX46" fmla="*/ 13678 w 486161"/>
              <a:gd name="connsiteY46" fmla="*/ 9349 h 486161"/>
              <a:gd name="connsiteX47" fmla="*/ 481141 w 486161"/>
              <a:gd name="connsiteY47" fmla="*/ 9349 h 486161"/>
              <a:gd name="connsiteX48" fmla="*/ 483634 w 486161"/>
              <a:gd name="connsiteY48" fmla="*/ 9349 h 486161"/>
              <a:gd name="connsiteX49" fmla="*/ 483634 w 486161"/>
              <a:gd name="connsiteY49" fmla="*/ 11842 h 486161"/>
              <a:gd name="connsiteX50" fmla="*/ 482387 w 486161"/>
              <a:gd name="connsiteY50" fmla="*/ 350909 h 486161"/>
              <a:gd name="connsiteX51" fmla="*/ 481141 w 486161"/>
              <a:gd name="connsiteY51" fmla="*/ 445648 h 486161"/>
              <a:gd name="connsiteX52" fmla="*/ 481141 w 486161"/>
              <a:gd name="connsiteY52" fmla="*/ 470580 h 486161"/>
              <a:gd name="connsiteX53" fmla="*/ 481141 w 486161"/>
              <a:gd name="connsiteY53" fmla="*/ 476812 h 486161"/>
              <a:gd name="connsiteX54" fmla="*/ 479894 w 486161"/>
              <a:gd name="connsiteY54" fmla="*/ 479305 h 48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86161" h="486161">
                <a:moveTo>
                  <a:pt x="479894" y="479305"/>
                </a:moveTo>
                <a:cubicBezTo>
                  <a:pt x="479894" y="479305"/>
                  <a:pt x="479894" y="478059"/>
                  <a:pt x="479894" y="476812"/>
                </a:cubicBezTo>
                <a:cubicBezTo>
                  <a:pt x="479894" y="475566"/>
                  <a:pt x="479894" y="473073"/>
                  <a:pt x="479894" y="470580"/>
                </a:cubicBezTo>
                <a:cubicBezTo>
                  <a:pt x="479894" y="464347"/>
                  <a:pt x="479894" y="455621"/>
                  <a:pt x="479894" y="445648"/>
                </a:cubicBezTo>
                <a:cubicBezTo>
                  <a:pt x="479894" y="423210"/>
                  <a:pt x="479894" y="390799"/>
                  <a:pt x="478648" y="350909"/>
                </a:cubicBezTo>
                <a:cubicBezTo>
                  <a:pt x="478648" y="268636"/>
                  <a:pt x="477401" y="152705"/>
                  <a:pt x="477401" y="13089"/>
                </a:cubicBezTo>
                <a:lnTo>
                  <a:pt x="479894" y="15582"/>
                </a:lnTo>
                <a:cubicBezTo>
                  <a:pt x="344019" y="15582"/>
                  <a:pt x="183211" y="15582"/>
                  <a:pt x="12431" y="15582"/>
                </a:cubicBezTo>
                <a:cubicBezTo>
                  <a:pt x="11185" y="16829"/>
                  <a:pt x="18664" y="9349"/>
                  <a:pt x="16171" y="11842"/>
                </a:cubicBezTo>
                <a:lnTo>
                  <a:pt x="16171" y="11842"/>
                </a:lnTo>
                <a:lnTo>
                  <a:pt x="16171" y="11842"/>
                </a:lnTo>
                <a:lnTo>
                  <a:pt x="16171" y="11842"/>
                </a:lnTo>
                <a:lnTo>
                  <a:pt x="16171" y="13089"/>
                </a:lnTo>
                <a:lnTo>
                  <a:pt x="16171" y="15582"/>
                </a:lnTo>
                <a:lnTo>
                  <a:pt x="16171" y="19322"/>
                </a:lnTo>
                <a:lnTo>
                  <a:pt x="16171" y="26801"/>
                </a:lnTo>
                <a:lnTo>
                  <a:pt x="16171" y="43007"/>
                </a:lnTo>
                <a:cubicBezTo>
                  <a:pt x="16171" y="54226"/>
                  <a:pt x="16171" y="64198"/>
                  <a:pt x="16171" y="74171"/>
                </a:cubicBezTo>
                <a:cubicBezTo>
                  <a:pt x="16171" y="95362"/>
                  <a:pt x="16171" y="116554"/>
                  <a:pt x="16171" y="136499"/>
                </a:cubicBezTo>
                <a:cubicBezTo>
                  <a:pt x="16171" y="177636"/>
                  <a:pt x="16171" y="217526"/>
                  <a:pt x="16171" y="257416"/>
                </a:cubicBezTo>
                <a:cubicBezTo>
                  <a:pt x="16171" y="335950"/>
                  <a:pt x="16171" y="409498"/>
                  <a:pt x="16171" y="478059"/>
                </a:cubicBezTo>
                <a:lnTo>
                  <a:pt x="13678" y="475566"/>
                </a:lnTo>
                <a:cubicBezTo>
                  <a:pt x="153293" y="475566"/>
                  <a:pt x="269224" y="476812"/>
                  <a:pt x="351498" y="476812"/>
                </a:cubicBezTo>
                <a:cubicBezTo>
                  <a:pt x="392634" y="476812"/>
                  <a:pt x="423798" y="476812"/>
                  <a:pt x="446237" y="478059"/>
                </a:cubicBezTo>
                <a:cubicBezTo>
                  <a:pt x="457456" y="478059"/>
                  <a:pt x="464935" y="478059"/>
                  <a:pt x="471168" y="478059"/>
                </a:cubicBezTo>
                <a:cubicBezTo>
                  <a:pt x="473661" y="478059"/>
                  <a:pt x="476154" y="478059"/>
                  <a:pt x="477401" y="478059"/>
                </a:cubicBezTo>
                <a:cubicBezTo>
                  <a:pt x="479894" y="479305"/>
                  <a:pt x="479894" y="479305"/>
                  <a:pt x="479894" y="479305"/>
                </a:cubicBezTo>
                <a:cubicBezTo>
                  <a:pt x="479894" y="479305"/>
                  <a:pt x="478648" y="479305"/>
                  <a:pt x="477401" y="479305"/>
                </a:cubicBezTo>
                <a:cubicBezTo>
                  <a:pt x="476154" y="479305"/>
                  <a:pt x="473661" y="479305"/>
                  <a:pt x="471168" y="479305"/>
                </a:cubicBezTo>
                <a:cubicBezTo>
                  <a:pt x="464935" y="479305"/>
                  <a:pt x="457456" y="479305"/>
                  <a:pt x="446237" y="479305"/>
                </a:cubicBezTo>
                <a:cubicBezTo>
                  <a:pt x="423798" y="479305"/>
                  <a:pt x="392634" y="479305"/>
                  <a:pt x="351498" y="480552"/>
                </a:cubicBezTo>
                <a:cubicBezTo>
                  <a:pt x="269224" y="480552"/>
                  <a:pt x="152047" y="481799"/>
                  <a:pt x="12431" y="481799"/>
                </a:cubicBezTo>
                <a:lnTo>
                  <a:pt x="9938" y="481799"/>
                </a:lnTo>
                <a:lnTo>
                  <a:pt x="9938" y="479305"/>
                </a:lnTo>
                <a:cubicBezTo>
                  <a:pt x="9938" y="411991"/>
                  <a:pt x="9938" y="337197"/>
                  <a:pt x="9938" y="258663"/>
                </a:cubicBezTo>
                <a:cubicBezTo>
                  <a:pt x="9938" y="220019"/>
                  <a:pt x="9938" y="178883"/>
                  <a:pt x="9938" y="137746"/>
                </a:cubicBezTo>
                <a:cubicBezTo>
                  <a:pt x="9938" y="116554"/>
                  <a:pt x="9938" y="96609"/>
                  <a:pt x="9938" y="75417"/>
                </a:cubicBezTo>
                <a:cubicBezTo>
                  <a:pt x="9938" y="65445"/>
                  <a:pt x="9938" y="54226"/>
                  <a:pt x="9938" y="44253"/>
                </a:cubicBezTo>
                <a:lnTo>
                  <a:pt x="9938" y="28048"/>
                </a:lnTo>
                <a:lnTo>
                  <a:pt x="9938" y="20568"/>
                </a:lnTo>
                <a:lnTo>
                  <a:pt x="9938" y="16829"/>
                </a:lnTo>
                <a:lnTo>
                  <a:pt x="9938" y="14336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184457" y="9349"/>
                  <a:pt x="345265" y="9349"/>
                  <a:pt x="481141" y="9349"/>
                </a:cubicBezTo>
                <a:lnTo>
                  <a:pt x="483634" y="9349"/>
                </a:lnTo>
                <a:lnTo>
                  <a:pt x="483634" y="11842"/>
                </a:lnTo>
                <a:cubicBezTo>
                  <a:pt x="483634" y="151458"/>
                  <a:pt x="482387" y="268636"/>
                  <a:pt x="482387" y="350909"/>
                </a:cubicBezTo>
                <a:cubicBezTo>
                  <a:pt x="482387" y="390799"/>
                  <a:pt x="482387" y="423210"/>
                  <a:pt x="481141" y="445648"/>
                </a:cubicBezTo>
                <a:cubicBezTo>
                  <a:pt x="481141" y="455621"/>
                  <a:pt x="481141" y="464347"/>
                  <a:pt x="481141" y="470580"/>
                </a:cubicBezTo>
                <a:cubicBezTo>
                  <a:pt x="481141" y="473073"/>
                  <a:pt x="481141" y="475566"/>
                  <a:pt x="481141" y="476812"/>
                </a:cubicBezTo>
                <a:cubicBezTo>
                  <a:pt x="481141" y="479305"/>
                  <a:pt x="481141" y="479305"/>
                  <a:pt x="479894" y="479305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72F456A3-5CEB-4E4A-955F-C49769DB3844}"/>
              </a:ext>
            </a:extLst>
          </p:cNvPr>
          <p:cNvSpPr/>
          <p:nvPr userDrawn="1"/>
        </p:nvSpPr>
        <p:spPr>
          <a:xfrm>
            <a:off x="7772122" y="1739324"/>
            <a:ext cx="249314" cy="249314"/>
          </a:xfrm>
          <a:custGeom>
            <a:avLst/>
            <a:gdLst>
              <a:gd name="connsiteX0" fmla="*/ 240553 w 249313"/>
              <a:gd name="connsiteY0" fmla="*/ 238718 h 249313"/>
              <a:gd name="connsiteX1" fmla="*/ 240553 w 249313"/>
              <a:gd name="connsiteY1" fmla="*/ 233732 h 249313"/>
              <a:gd name="connsiteX2" fmla="*/ 240553 w 249313"/>
              <a:gd name="connsiteY2" fmla="*/ 221266 h 249313"/>
              <a:gd name="connsiteX3" fmla="*/ 239306 w 249313"/>
              <a:gd name="connsiteY3" fmla="*/ 175143 h 249313"/>
              <a:gd name="connsiteX4" fmla="*/ 238060 w 249313"/>
              <a:gd name="connsiteY4" fmla="*/ 11842 h 249313"/>
              <a:gd name="connsiteX5" fmla="*/ 240553 w 249313"/>
              <a:gd name="connsiteY5" fmla="*/ 14335 h 249313"/>
              <a:gd name="connsiteX6" fmla="*/ 13678 w 249313"/>
              <a:gd name="connsiteY6" fmla="*/ 14335 h 249313"/>
              <a:gd name="connsiteX7" fmla="*/ 17417 w 249313"/>
              <a:gd name="connsiteY7" fmla="*/ 10596 h 249313"/>
              <a:gd name="connsiteX8" fmla="*/ 17417 w 249313"/>
              <a:gd name="connsiteY8" fmla="*/ 10596 h 249313"/>
              <a:gd name="connsiteX9" fmla="*/ 17417 w 249313"/>
              <a:gd name="connsiteY9" fmla="*/ 10596 h 249313"/>
              <a:gd name="connsiteX10" fmla="*/ 17417 w 249313"/>
              <a:gd name="connsiteY10" fmla="*/ 10596 h 249313"/>
              <a:gd name="connsiteX11" fmla="*/ 17417 w 249313"/>
              <a:gd name="connsiteY11" fmla="*/ 10596 h 249313"/>
              <a:gd name="connsiteX12" fmla="*/ 17417 w 249313"/>
              <a:gd name="connsiteY12" fmla="*/ 11842 h 249313"/>
              <a:gd name="connsiteX13" fmla="*/ 17417 w 249313"/>
              <a:gd name="connsiteY13" fmla="*/ 14335 h 249313"/>
              <a:gd name="connsiteX14" fmla="*/ 17417 w 249313"/>
              <a:gd name="connsiteY14" fmla="*/ 18075 h 249313"/>
              <a:gd name="connsiteX15" fmla="*/ 17417 w 249313"/>
              <a:gd name="connsiteY15" fmla="*/ 25555 h 249313"/>
              <a:gd name="connsiteX16" fmla="*/ 17417 w 249313"/>
              <a:gd name="connsiteY16" fmla="*/ 40513 h 249313"/>
              <a:gd name="connsiteX17" fmla="*/ 17417 w 249313"/>
              <a:gd name="connsiteY17" fmla="*/ 70431 h 249313"/>
              <a:gd name="connsiteX18" fmla="*/ 17417 w 249313"/>
              <a:gd name="connsiteY18" fmla="*/ 129020 h 249313"/>
              <a:gd name="connsiteX19" fmla="*/ 17417 w 249313"/>
              <a:gd name="connsiteY19" fmla="*/ 236225 h 249313"/>
              <a:gd name="connsiteX20" fmla="*/ 14924 w 249313"/>
              <a:gd name="connsiteY20" fmla="*/ 233732 h 249313"/>
              <a:gd name="connsiteX21" fmla="*/ 178225 w 249313"/>
              <a:gd name="connsiteY21" fmla="*/ 234978 h 249313"/>
              <a:gd name="connsiteX22" fmla="*/ 224348 w 249313"/>
              <a:gd name="connsiteY22" fmla="*/ 236225 h 249313"/>
              <a:gd name="connsiteX23" fmla="*/ 236814 w 249313"/>
              <a:gd name="connsiteY23" fmla="*/ 236225 h 249313"/>
              <a:gd name="connsiteX24" fmla="*/ 240553 w 249313"/>
              <a:gd name="connsiteY24" fmla="*/ 238718 h 249313"/>
              <a:gd name="connsiteX25" fmla="*/ 236814 w 249313"/>
              <a:gd name="connsiteY25" fmla="*/ 238718 h 249313"/>
              <a:gd name="connsiteX26" fmla="*/ 224348 w 249313"/>
              <a:gd name="connsiteY26" fmla="*/ 238718 h 249313"/>
              <a:gd name="connsiteX27" fmla="*/ 178225 w 249313"/>
              <a:gd name="connsiteY27" fmla="*/ 239964 h 249313"/>
              <a:gd name="connsiteX28" fmla="*/ 12431 w 249313"/>
              <a:gd name="connsiteY28" fmla="*/ 241211 h 249313"/>
              <a:gd name="connsiteX29" fmla="*/ 9938 w 249313"/>
              <a:gd name="connsiteY29" fmla="*/ 241211 h 249313"/>
              <a:gd name="connsiteX30" fmla="*/ 9938 w 249313"/>
              <a:gd name="connsiteY30" fmla="*/ 238718 h 249313"/>
              <a:gd name="connsiteX31" fmla="*/ 9938 w 249313"/>
              <a:gd name="connsiteY31" fmla="*/ 131513 h 249313"/>
              <a:gd name="connsiteX32" fmla="*/ 9938 w 249313"/>
              <a:gd name="connsiteY32" fmla="*/ 72924 h 249313"/>
              <a:gd name="connsiteX33" fmla="*/ 9938 w 249313"/>
              <a:gd name="connsiteY33" fmla="*/ 43007 h 249313"/>
              <a:gd name="connsiteX34" fmla="*/ 9938 w 249313"/>
              <a:gd name="connsiteY34" fmla="*/ 28048 h 249313"/>
              <a:gd name="connsiteX35" fmla="*/ 9938 w 249313"/>
              <a:gd name="connsiteY35" fmla="*/ 20568 h 249313"/>
              <a:gd name="connsiteX36" fmla="*/ 9938 w 249313"/>
              <a:gd name="connsiteY36" fmla="*/ 16829 h 249313"/>
              <a:gd name="connsiteX37" fmla="*/ 9938 w 249313"/>
              <a:gd name="connsiteY37" fmla="*/ 14335 h 249313"/>
              <a:gd name="connsiteX38" fmla="*/ 9938 w 249313"/>
              <a:gd name="connsiteY38" fmla="*/ 13089 h 249313"/>
              <a:gd name="connsiteX39" fmla="*/ 9938 w 249313"/>
              <a:gd name="connsiteY39" fmla="*/ 13089 h 249313"/>
              <a:gd name="connsiteX40" fmla="*/ 9938 w 249313"/>
              <a:gd name="connsiteY40" fmla="*/ 13089 h 249313"/>
              <a:gd name="connsiteX41" fmla="*/ 9938 w 249313"/>
              <a:gd name="connsiteY41" fmla="*/ 13089 h 249313"/>
              <a:gd name="connsiteX42" fmla="*/ 9938 w 249313"/>
              <a:gd name="connsiteY42" fmla="*/ 13089 h 249313"/>
              <a:gd name="connsiteX43" fmla="*/ 13678 w 249313"/>
              <a:gd name="connsiteY43" fmla="*/ 9349 h 249313"/>
              <a:gd name="connsiteX44" fmla="*/ 240553 w 249313"/>
              <a:gd name="connsiteY44" fmla="*/ 9349 h 249313"/>
              <a:gd name="connsiteX45" fmla="*/ 243046 w 249313"/>
              <a:gd name="connsiteY45" fmla="*/ 9349 h 249313"/>
              <a:gd name="connsiteX46" fmla="*/ 243046 w 249313"/>
              <a:gd name="connsiteY46" fmla="*/ 11842 h 249313"/>
              <a:gd name="connsiteX47" fmla="*/ 241800 w 249313"/>
              <a:gd name="connsiteY47" fmla="*/ 177636 h 249313"/>
              <a:gd name="connsiteX48" fmla="*/ 240553 w 249313"/>
              <a:gd name="connsiteY48" fmla="*/ 223759 h 249313"/>
              <a:gd name="connsiteX49" fmla="*/ 240553 w 249313"/>
              <a:gd name="connsiteY49" fmla="*/ 236225 h 249313"/>
              <a:gd name="connsiteX50" fmla="*/ 240553 w 249313"/>
              <a:gd name="connsiteY50" fmla="*/ 238718 h 24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49313" h="249313">
                <a:moveTo>
                  <a:pt x="240553" y="238718"/>
                </a:moveTo>
                <a:cubicBezTo>
                  <a:pt x="240553" y="238718"/>
                  <a:pt x="240553" y="237471"/>
                  <a:pt x="240553" y="233732"/>
                </a:cubicBezTo>
                <a:cubicBezTo>
                  <a:pt x="240553" y="229992"/>
                  <a:pt x="240553" y="226252"/>
                  <a:pt x="240553" y="221266"/>
                </a:cubicBezTo>
                <a:cubicBezTo>
                  <a:pt x="240553" y="210047"/>
                  <a:pt x="240553" y="193841"/>
                  <a:pt x="239306" y="175143"/>
                </a:cubicBezTo>
                <a:cubicBezTo>
                  <a:pt x="239306" y="135253"/>
                  <a:pt x="238060" y="79157"/>
                  <a:pt x="238060" y="11842"/>
                </a:cubicBezTo>
                <a:lnTo>
                  <a:pt x="240553" y="14335"/>
                </a:lnTo>
                <a:cubicBezTo>
                  <a:pt x="174485" y="14335"/>
                  <a:pt x="97198" y="14335"/>
                  <a:pt x="13678" y="14335"/>
                </a:cubicBezTo>
                <a:cubicBezTo>
                  <a:pt x="12431" y="15582"/>
                  <a:pt x="19910" y="8103"/>
                  <a:pt x="17417" y="10596"/>
                </a:cubicBezTo>
                <a:lnTo>
                  <a:pt x="17417" y="10596"/>
                </a:lnTo>
                <a:lnTo>
                  <a:pt x="17417" y="10596"/>
                </a:lnTo>
                <a:lnTo>
                  <a:pt x="17417" y="10596"/>
                </a:lnTo>
                <a:lnTo>
                  <a:pt x="17417" y="10596"/>
                </a:lnTo>
                <a:lnTo>
                  <a:pt x="17417" y="11842"/>
                </a:lnTo>
                <a:lnTo>
                  <a:pt x="17417" y="14335"/>
                </a:lnTo>
                <a:lnTo>
                  <a:pt x="17417" y="18075"/>
                </a:lnTo>
                <a:lnTo>
                  <a:pt x="17417" y="25555"/>
                </a:lnTo>
                <a:cubicBezTo>
                  <a:pt x="17417" y="30541"/>
                  <a:pt x="17417" y="35527"/>
                  <a:pt x="17417" y="40513"/>
                </a:cubicBezTo>
                <a:cubicBezTo>
                  <a:pt x="17417" y="50486"/>
                  <a:pt x="17417" y="60458"/>
                  <a:pt x="17417" y="70431"/>
                </a:cubicBezTo>
                <a:cubicBezTo>
                  <a:pt x="17417" y="90376"/>
                  <a:pt x="17417" y="110321"/>
                  <a:pt x="17417" y="129020"/>
                </a:cubicBezTo>
                <a:cubicBezTo>
                  <a:pt x="17417" y="167663"/>
                  <a:pt x="17417" y="202567"/>
                  <a:pt x="17417" y="236225"/>
                </a:cubicBezTo>
                <a:lnTo>
                  <a:pt x="14924" y="233732"/>
                </a:lnTo>
                <a:cubicBezTo>
                  <a:pt x="82239" y="233732"/>
                  <a:pt x="138334" y="234978"/>
                  <a:pt x="178225" y="234978"/>
                </a:cubicBezTo>
                <a:cubicBezTo>
                  <a:pt x="198170" y="234978"/>
                  <a:pt x="213128" y="234978"/>
                  <a:pt x="224348" y="236225"/>
                </a:cubicBezTo>
                <a:cubicBezTo>
                  <a:pt x="229334" y="236225"/>
                  <a:pt x="233074" y="236225"/>
                  <a:pt x="236814" y="236225"/>
                </a:cubicBezTo>
                <a:cubicBezTo>
                  <a:pt x="238060" y="238718"/>
                  <a:pt x="240553" y="238718"/>
                  <a:pt x="240553" y="238718"/>
                </a:cubicBezTo>
                <a:cubicBezTo>
                  <a:pt x="240553" y="238718"/>
                  <a:pt x="239306" y="238718"/>
                  <a:pt x="236814" y="238718"/>
                </a:cubicBezTo>
                <a:cubicBezTo>
                  <a:pt x="233074" y="238718"/>
                  <a:pt x="229334" y="238718"/>
                  <a:pt x="224348" y="238718"/>
                </a:cubicBezTo>
                <a:cubicBezTo>
                  <a:pt x="213128" y="238718"/>
                  <a:pt x="198170" y="238718"/>
                  <a:pt x="178225" y="239964"/>
                </a:cubicBezTo>
                <a:cubicBezTo>
                  <a:pt x="137088" y="239964"/>
                  <a:pt x="80993" y="241211"/>
                  <a:pt x="12431" y="241211"/>
                </a:cubicBezTo>
                <a:lnTo>
                  <a:pt x="9938" y="241211"/>
                </a:lnTo>
                <a:lnTo>
                  <a:pt x="9938" y="238718"/>
                </a:lnTo>
                <a:cubicBezTo>
                  <a:pt x="9938" y="206307"/>
                  <a:pt x="9938" y="170156"/>
                  <a:pt x="9938" y="131513"/>
                </a:cubicBezTo>
                <a:cubicBezTo>
                  <a:pt x="9938" y="112814"/>
                  <a:pt x="9938" y="92869"/>
                  <a:pt x="9938" y="72924"/>
                </a:cubicBezTo>
                <a:cubicBezTo>
                  <a:pt x="9938" y="62952"/>
                  <a:pt x="9938" y="52979"/>
                  <a:pt x="9938" y="43007"/>
                </a:cubicBezTo>
                <a:cubicBezTo>
                  <a:pt x="9938" y="38020"/>
                  <a:pt x="9938" y="33034"/>
                  <a:pt x="9938" y="28048"/>
                </a:cubicBezTo>
                <a:lnTo>
                  <a:pt x="9938" y="20568"/>
                </a:lnTo>
                <a:lnTo>
                  <a:pt x="9938" y="16829"/>
                </a:lnTo>
                <a:lnTo>
                  <a:pt x="9938" y="14335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97198" y="9349"/>
                  <a:pt x="174485" y="9349"/>
                  <a:pt x="240553" y="9349"/>
                </a:cubicBezTo>
                <a:lnTo>
                  <a:pt x="243046" y="9349"/>
                </a:lnTo>
                <a:lnTo>
                  <a:pt x="243046" y="11842"/>
                </a:lnTo>
                <a:cubicBezTo>
                  <a:pt x="243046" y="79157"/>
                  <a:pt x="241800" y="136499"/>
                  <a:pt x="241800" y="177636"/>
                </a:cubicBezTo>
                <a:cubicBezTo>
                  <a:pt x="241800" y="196335"/>
                  <a:pt x="241800" y="212540"/>
                  <a:pt x="240553" y="223759"/>
                </a:cubicBezTo>
                <a:cubicBezTo>
                  <a:pt x="240553" y="228745"/>
                  <a:pt x="240553" y="232485"/>
                  <a:pt x="240553" y="236225"/>
                </a:cubicBezTo>
                <a:cubicBezTo>
                  <a:pt x="240553" y="237471"/>
                  <a:pt x="240553" y="238718"/>
                  <a:pt x="240553" y="238718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57B20BCC-59F2-4359-8FEB-B6B709B36551}"/>
              </a:ext>
            </a:extLst>
          </p:cNvPr>
          <p:cNvSpPr/>
          <p:nvPr userDrawn="1"/>
        </p:nvSpPr>
        <p:spPr>
          <a:xfrm>
            <a:off x="6759908" y="684728"/>
            <a:ext cx="486162" cy="486162"/>
          </a:xfrm>
          <a:custGeom>
            <a:avLst/>
            <a:gdLst>
              <a:gd name="connsiteX0" fmla="*/ 479894 w 486161"/>
              <a:gd name="connsiteY0" fmla="*/ 479306 h 486161"/>
              <a:gd name="connsiteX1" fmla="*/ 479894 w 486161"/>
              <a:gd name="connsiteY1" fmla="*/ 476812 h 486161"/>
              <a:gd name="connsiteX2" fmla="*/ 479894 w 486161"/>
              <a:gd name="connsiteY2" fmla="*/ 470579 h 486161"/>
              <a:gd name="connsiteX3" fmla="*/ 479894 w 486161"/>
              <a:gd name="connsiteY3" fmla="*/ 445648 h 486161"/>
              <a:gd name="connsiteX4" fmla="*/ 478648 w 486161"/>
              <a:gd name="connsiteY4" fmla="*/ 350909 h 486161"/>
              <a:gd name="connsiteX5" fmla="*/ 477401 w 486161"/>
              <a:gd name="connsiteY5" fmla="*/ 13089 h 486161"/>
              <a:gd name="connsiteX6" fmla="*/ 479894 w 486161"/>
              <a:gd name="connsiteY6" fmla="*/ 15582 h 486161"/>
              <a:gd name="connsiteX7" fmla="*/ 12431 w 486161"/>
              <a:gd name="connsiteY7" fmla="*/ 15582 h 486161"/>
              <a:gd name="connsiteX8" fmla="*/ 16171 w 486161"/>
              <a:gd name="connsiteY8" fmla="*/ 11842 h 486161"/>
              <a:gd name="connsiteX9" fmla="*/ 16171 w 486161"/>
              <a:gd name="connsiteY9" fmla="*/ 11842 h 486161"/>
              <a:gd name="connsiteX10" fmla="*/ 16171 w 486161"/>
              <a:gd name="connsiteY10" fmla="*/ 11842 h 486161"/>
              <a:gd name="connsiteX11" fmla="*/ 16171 w 486161"/>
              <a:gd name="connsiteY11" fmla="*/ 11842 h 486161"/>
              <a:gd name="connsiteX12" fmla="*/ 16171 w 486161"/>
              <a:gd name="connsiteY12" fmla="*/ 13089 h 486161"/>
              <a:gd name="connsiteX13" fmla="*/ 16171 w 486161"/>
              <a:gd name="connsiteY13" fmla="*/ 15582 h 486161"/>
              <a:gd name="connsiteX14" fmla="*/ 16171 w 486161"/>
              <a:gd name="connsiteY14" fmla="*/ 19322 h 486161"/>
              <a:gd name="connsiteX15" fmla="*/ 16171 w 486161"/>
              <a:gd name="connsiteY15" fmla="*/ 26801 h 486161"/>
              <a:gd name="connsiteX16" fmla="*/ 16171 w 486161"/>
              <a:gd name="connsiteY16" fmla="*/ 43007 h 486161"/>
              <a:gd name="connsiteX17" fmla="*/ 16171 w 486161"/>
              <a:gd name="connsiteY17" fmla="*/ 74171 h 486161"/>
              <a:gd name="connsiteX18" fmla="*/ 16171 w 486161"/>
              <a:gd name="connsiteY18" fmla="*/ 136499 h 486161"/>
              <a:gd name="connsiteX19" fmla="*/ 16171 w 486161"/>
              <a:gd name="connsiteY19" fmla="*/ 257416 h 486161"/>
              <a:gd name="connsiteX20" fmla="*/ 16171 w 486161"/>
              <a:gd name="connsiteY20" fmla="*/ 478059 h 486161"/>
              <a:gd name="connsiteX21" fmla="*/ 13678 w 486161"/>
              <a:gd name="connsiteY21" fmla="*/ 475566 h 486161"/>
              <a:gd name="connsiteX22" fmla="*/ 351498 w 486161"/>
              <a:gd name="connsiteY22" fmla="*/ 476812 h 486161"/>
              <a:gd name="connsiteX23" fmla="*/ 446237 w 486161"/>
              <a:gd name="connsiteY23" fmla="*/ 478059 h 486161"/>
              <a:gd name="connsiteX24" fmla="*/ 471168 w 486161"/>
              <a:gd name="connsiteY24" fmla="*/ 478059 h 486161"/>
              <a:gd name="connsiteX25" fmla="*/ 477401 w 486161"/>
              <a:gd name="connsiteY25" fmla="*/ 478059 h 486161"/>
              <a:gd name="connsiteX26" fmla="*/ 479894 w 486161"/>
              <a:gd name="connsiteY26" fmla="*/ 479306 h 486161"/>
              <a:gd name="connsiteX27" fmla="*/ 477401 w 486161"/>
              <a:gd name="connsiteY27" fmla="*/ 479306 h 486161"/>
              <a:gd name="connsiteX28" fmla="*/ 471168 w 486161"/>
              <a:gd name="connsiteY28" fmla="*/ 479306 h 486161"/>
              <a:gd name="connsiteX29" fmla="*/ 446237 w 486161"/>
              <a:gd name="connsiteY29" fmla="*/ 479306 h 486161"/>
              <a:gd name="connsiteX30" fmla="*/ 351498 w 486161"/>
              <a:gd name="connsiteY30" fmla="*/ 480552 h 486161"/>
              <a:gd name="connsiteX31" fmla="*/ 12431 w 486161"/>
              <a:gd name="connsiteY31" fmla="*/ 481799 h 486161"/>
              <a:gd name="connsiteX32" fmla="*/ 9938 w 486161"/>
              <a:gd name="connsiteY32" fmla="*/ 481799 h 486161"/>
              <a:gd name="connsiteX33" fmla="*/ 9938 w 486161"/>
              <a:gd name="connsiteY33" fmla="*/ 479306 h 486161"/>
              <a:gd name="connsiteX34" fmla="*/ 9938 w 486161"/>
              <a:gd name="connsiteY34" fmla="*/ 258663 h 486161"/>
              <a:gd name="connsiteX35" fmla="*/ 9938 w 486161"/>
              <a:gd name="connsiteY35" fmla="*/ 137746 h 486161"/>
              <a:gd name="connsiteX36" fmla="*/ 9938 w 486161"/>
              <a:gd name="connsiteY36" fmla="*/ 75417 h 486161"/>
              <a:gd name="connsiteX37" fmla="*/ 9938 w 486161"/>
              <a:gd name="connsiteY37" fmla="*/ 44253 h 486161"/>
              <a:gd name="connsiteX38" fmla="*/ 9938 w 486161"/>
              <a:gd name="connsiteY38" fmla="*/ 28048 h 486161"/>
              <a:gd name="connsiteX39" fmla="*/ 9938 w 486161"/>
              <a:gd name="connsiteY39" fmla="*/ 20568 h 486161"/>
              <a:gd name="connsiteX40" fmla="*/ 9938 w 486161"/>
              <a:gd name="connsiteY40" fmla="*/ 16829 h 486161"/>
              <a:gd name="connsiteX41" fmla="*/ 9938 w 486161"/>
              <a:gd name="connsiteY41" fmla="*/ 14336 h 486161"/>
              <a:gd name="connsiteX42" fmla="*/ 9938 w 486161"/>
              <a:gd name="connsiteY42" fmla="*/ 13089 h 486161"/>
              <a:gd name="connsiteX43" fmla="*/ 9938 w 486161"/>
              <a:gd name="connsiteY43" fmla="*/ 13089 h 486161"/>
              <a:gd name="connsiteX44" fmla="*/ 9938 w 486161"/>
              <a:gd name="connsiteY44" fmla="*/ 13089 h 486161"/>
              <a:gd name="connsiteX45" fmla="*/ 9938 w 486161"/>
              <a:gd name="connsiteY45" fmla="*/ 13089 h 486161"/>
              <a:gd name="connsiteX46" fmla="*/ 13678 w 486161"/>
              <a:gd name="connsiteY46" fmla="*/ 9349 h 486161"/>
              <a:gd name="connsiteX47" fmla="*/ 481141 w 486161"/>
              <a:gd name="connsiteY47" fmla="*/ 9349 h 486161"/>
              <a:gd name="connsiteX48" fmla="*/ 483634 w 486161"/>
              <a:gd name="connsiteY48" fmla="*/ 9349 h 486161"/>
              <a:gd name="connsiteX49" fmla="*/ 483634 w 486161"/>
              <a:gd name="connsiteY49" fmla="*/ 11842 h 486161"/>
              <a:gd name="connsiteX50" fmla="*/ 482388 w 486161"/>
              <a:gd name="connsiteY50" fmla="*/ 350909 h 486161"/>
              <a:gd name="connsiteX51" fmla="*/ 481141 w 486161"/>
              <a:gd name="connsiteY51" fmla="*/ 445648 h 486161"/>
              <a:gd name="connsiteX52" fmla="*/ 481141 w 486161"/>
              <a:gd name="connsiteY52" fmla="*/ 470579 h 486161"/>
              <a:gd name="connsiteX53" fmla="*/ 481141 w 486161"/>
              <a:gd name="connsiteY53" fmla="*/ 476812 h 486161"/>
              <a:gd name="connsiteX54" fmla="*/ 479894 w 486161"/>
              <a:gd name="connsiteY54" fmla="*/ 479306 h 48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86161" h="486161">
                <a:moveTo>
                  <a:pt x="479894" y="479306"/>
                </a:moveTo>
                <a:cubicBezTo>
                  <a:pt x="479894" y="479306"/>
                  <a:pt x="479894" y="478059"/>
                  <a:pt x="479894" y="476812"/>
                </a:cubicBezTo>
                <a:cubicBezTo>
                  <a:pt x="479894" y="475566"/>
                  <a:pt x="479894" y="473073"/>
                  <a:pt x="479894" y="470579"/>
                </a:cubicBezTo>
                <a:cubicBezTo>
                  <a:pt x="479894" y="464347"/>
                  <a:pt x="479894" y="455621"/>
                  <a:pt x="479894" y="445648"/>
                </a:cubicBezTo>
                <a:cubicBezTo>
                  <a:pt x="479894" y="423210"/>
                  <a:pt x="479894" y="390799"/>
                  <a:pt x="478648" y="350909"/>
                </a:cubicBezTo>
                <a:cubicBezTo>
                  <a:pt x="478648" y="268635"/>
                  <a:pt x="477401" y="152705"/>
                  <a:pt x="477401" y="13089"/>
                </a:cubicBezTo>
                <a:lnTo>
                  <a:pt x="479894" y="15582"/>
                </a:lnTo>
                <a:cubicBezTo>
                  <a:pt x="344018" y="15582"/>
                  <a:pt x="183211" y="15582"/>
                  <a:pt x="12431" y="15582"/>
                </a:cubicBezTo>
                <a:cubicBezTo>
                  <a:pt x="11184" y="16829"/>
                  <a:pt x="18664" y="9349"/>
                  <a:pt x="16171" y="11842"/>
                </a:cubicBezTo>
                <a:lnTo>
                  <a:pt x="16171" y="11842"/>
                </a:lnTo>
                <a:lnTo>
                  <a:pt x="16171" y="11842"/>
                </a:lnTo>
                <a:lnTo>
                  <a:pt x="16171" y="11842"/>
                </a:lnTo>
                <a:lnTo>
                  <a:pt x="16171" y="13089"/>
                </a:lnTo>
                <a:lnTo>
                  <a:pt x="16171" y="15582"/>
                </a:lnTo>
                <a:lnTo>
                  <a:pt x="16171" y="19322"/>
                </a:lnTo>
                <a:lnTo>
                  <a:pt x="16171" y="26801"/>
                </a:lnTo>
                <a:lnTo>
                  <a:pt x="16171" y="43007"/>
                </a:lnTo>
                <a:cubicBezTo>
                  <a:pt x="16171" y="54226"/>
                  <a:pt x="16171" y="64198"/>
                  <a:pt x="16171" y="74171"/>
                </a:cubicBezTo>
                <a:cubicBezTo>
                  <a:pt x="16171" y="95362"/>
                  <a:pt x="16171" y="116554"/>
                  <a:pt x="16171" y="136499"/>
                </a:cubicBezTo>
                <a:cubicBezTo>
                  <a:pt x="16171" y="177636"/>
                  <a:pt x="16171" y="217526"/>
                  <a:pt x="16171" y="257416"/>
                </a:cubicBezTo>
                <a:cubicBezTo>
                  <a:pt x="16171" y="335950"/>
                  <a:pt x="16171" y="409498"/>
                  <a:pt x="16171" y="478059"/>
                </a:cubicBezTo>
                <a:lnTo>
                  <a:pt x="13678" y="475566"/>
                </a:lnTo>
                <a:cubicBezTo>
                  <a:pt x="153293" y="475566"/>
                  <a:pt x="269224" y="476812"/>
                  <a:pt x="351498" y="476812"/>
                </a:cubicBezTo>
                <a:cubicBezTo>
                  <a:pt x="392634" y="476812"/>
                  <a:pt x="423799" y="476812"/>
                  <a:pt x="446237" y="478059"/>
                </a:cubicBezTo>
                <a:cubicBezTo>
                  <a:pt x="457456" y="478059"/>
                  <a:pt x="464935" y="478059"/>
                  <a:pt x="471168" y="478059"/>
                </a:cubicBezTo>
                <a:cubicBezTo>
                  <a:pt x="473661" y="478059"/>
                  <a:pt x="476155" y="478059"/>
                  <a:pt x="477401" y="478059"/>
                </a:cubicBezTo>
                <a:cubicBezTo>
                  <a:pt x="478648" y="479306"/>
                  <a:pt x="479894" y="479306"/>
                  <a:pt x="479894" y="479306"/>
                </a:cubicBezTo>
                <a:cubicBezTo>
                  <a:pt x="479894" y="479306"/>
                  <a:pt x="478648" y="479306"/>
                  <a:pt x="477401" y="479306"/>
                </a:cubicBezTo>
                <a:cubicBezTo>
                  <a:pt x="476155" y="479306"/>
                  <a:pt x="473661" y="479306"/>
                  <a:pt x="471168" y="479306"/>
                </a:cubicBezTo>
                <a:cubicBezTo>
                  <a:pt x="464935" y="479306"/>
                  <a:pt x="457456" y="479306"/>
                  <a:pt x="446237" y="479306"/>
                </a:cubicBezTo>
                <a:cubicBezTo>
                  <a:pt x="423799" y="479306"/>
                  <a:pt x="392634" y="479306"/>
                  <a:pt x="351498" y="480552"/>
                </a:cubicBezTo>
                <a:cubicBezTo>
                  <a:pt x="269224" y="480552"/>
                  <a:pt x="152047" y="481799"/>
                  <a:pt x="12431" y="481799"/>
                </a:cubicBezTo>
                <a:lnTo>
                  <a:pt x="9938" y="481799"/>
                </a:lnTo>
                <a:lnTo>
                  <a:pt x="9938" y="479306"/>
                </a:lnTo>
                <a:cubicBezTo>
                  <a:pt x="9938" y="411991"/>
                  <a:pt x="9938" y="337197"/>
                  <a:pt x="9938" y="258663"/>
                </a:cubicBezTo>
                <a:cubicBezTo>
                  <a:pt x="9938" y="220019"/>
                  <a:pt x="9938" y="178883"/>
                  <a:pt x="9938" y="137746"/>
                </a:cubicBezTo>
                <a:cubicBezTo>
                  <a:pt x="9938" y="116554"/>
                  <a:pt x="9938" y="96609"/>
                  <a:pt x="9938" y="75417"/>
                </a:cubicBezTo>
                <a:cubicBezTo>
                  <a:pt x="9938" y="65445"/>
                  <a:pt x="9938" y="54226"/>
                  <a:pt x="9938" y="44253"/>
                </a:cubicBezTo>
                <a:lnTo>
                  <a:pt x="9938" y="28048"/>
                </a:lnTo>
                <a:lnTo>
                  <a:pt x="9938" y="20568"/>
                </a:lnTo>
                <a:lnTo>
                  <a:pt x="9938" y="16829"/>
                </a:lnTo>
                <a:lnTo>
                  <a:pt x="9938" y="14336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184457" y="9349"/>
                  <a:pt x="345265" y="9349"/>
                  <a:pt x="481141" y="9349"/>
                </a:cubicBezTo>
                <a:lnTo>
                  <a:pt x="483634" y="9349"/>
                </a:lnTo>
                <a:lnTo>
                  <a:pt x="483634" y="11842"/>
                </a:lnTo>
                <a:cubicBezTo>
                  <a:pt x="483634" y="152705"/>
                  <a:pt x="482388" y="268635"/>
                  <a:pt x="482388" y="350909"/>
                </a:cubicBezTo>
                <a:cubicBezTo>
                  <a:pt x="482388" y="390799"/>
                  <a:pt x="482388" y="423210"/>
                  <a:pt x="481141" y="445648"/>
                </a:cubicBezTo>
                <a:cubicBezTo>
                  <a:pt x="481141" y="455621"/>
                  <a:pt x="481141" y="464347"/>
                  <a:pt x="481141" y="470579"/>
                </a:cubicBezTo>
                <a:cubicBezTo>
                  <a:pt x="481141" y="473073"/>
                  <a:pt x="481141" y="475566"/>
                  <a:pt x="481141" y="476812"/>
                </a:cubicBezTo>
                <a:cubicBezTo>
                  <a:pt x="479894" y="479306"/>
                  <a:pt x="479894" y="479306"/>
                  <a:pt x="479894" y="479306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240B9E93-4A83-4A9D-BC5D-CFD1B33A470E}"/>
              </a:ext>
            </a:extLst>
          </p:cNvPr>
          <p:cNvSpPr/>
          <p:nvPr userDrawn="1"/>
        </p:nvSpPr>
        <p:spPr>
          <a:xfrm>
            <a:off x="6092994" y="2292288"/>
            <a:ext cx="199451" cy="199451"/>
          </a:xfrm>
          <a:custGeom>
            <a:avLst/>
            <a:gdLst>
              <a:gd name="connsiteX0" fmla="*/ 186951 w 199450"/>
              <a:gd name="connsiteY0" fmla="*/ 186874 h 199450"/>
              <a:gd name="connsiteX1" fmla="*/ 185704 w 199450"/>
              <a:gd name="connsiteY1" fmla="*/ 173162 h 199450"/>
              <a:gd name="connsiteX2" fmla="*/ 184457 w 199450"/>
              <a:gd name="connsiteY2" fmla="*/ 137012 h 199450"/>
              <a:gd name="connsiteX3" fmla="*/ 183211 w 199450"/>
              <a:gd name="connsiteY3" fmla="*/ 11108 h 199450"/>
              <a:gd name="connsiteX4" fmla="*/ 185704 w 199450"/>
              <a:gd name="connsiteY4" fmla="*/ 13601 h 199450"/>
              <a:gd name="connsiteX5" fmla="*/ 11184 w 199450"/>
              <a:gd name="connsiteY5" fmla="*/ 13601 h 199450"/>
              <a:gd name="connsiteX6" fmla="*/ 14924 w 199450"/>
              <a:gd name="connsiteY6" fmla="*/ 9862 h 199450"/>
              <a:gd name="connsiteX7" fmla="*/ 14924 w 199450"/>
              <a:gd name="connsiteY7" fmla="*/ 9862 h 199450"/>
              <a:gd name="connsiteX8" fmla="*/ 14924 w 199450"/>
              <a:gd name="connsiteY8" fmla="*/ 9862 h 199450"/>
              <a:gd name="connsiteX9" fmla="*/ 14924 w 199450"/>
              <a:gd name="connsiteY9" fmla="*/ 9862 h 199450"/>
              <a:gd name="connsiteX10" fmla="*/ 14924 w 199450"/>
              <a:gd name="connsiteY10" fmla="*/ 9862 h 199450"/>
              <a:gd name="connsiteX11" fmla="*/ 14924 w 199450"/>
              <a:gd name="connsiteY11" fmla="*/ 11108 h 199450"/>
              <a:gd name="connsiteX12" fmla="*/ 14924 w 199450"/>
              <a:gd name="connsiteY12" fmla="*/ 12355 h 199450"/>
              <a:gd name="connsiteX13" fmla="*/ 14924 w 199450"/>
              <a:gd name="connsiteY13" fmla="*/ 14848 h 199450"/>
              <a:gd name="connsiteX14" fmla="*/ 14924 w 199450"/>
              <a:gd name="connsiteY14" fmla="*/ 21081 h 199450"/>
              <a:gd name="connsiteX15" fmla="*/ 14924 w 199450"/>
              <a:gd name="connsiteY15" fmla="*/ 33547 h 199450"/>
              <a:gd name="connsiteX16" fmla="*/ 14924 w 199450"/>
              <a:gd name="connsiteY16" fmla="*/ 57231 h 199450"/>
              <a:gd name="connsiteX17" fmla="*/ 14924 w 199450"/>
              <a:gd name="connsiteY17" fmla="*/ 102108 h 199450"/>
              <a:gd name="connsiteX18" fmla="*/ 14924 w 199450"/>
              <a:gd name="connsiteY18" fmla="*/ 184381 h 199450"/>
              <a:gd name="connsiteX19" fmla="*/ 12431 w 199450"/>
              <a:gd name="connsiteY19" fmla="*/ 181888 h 199450"/>
              <a:gd name="connsiteX20" fmla="*/ 138334 w 199450"/>
              <a:gd name="connsiteY20" fmla="*/ 183135 h 199450"/>
              <a:gd name="connsiteX21" fmla="*/ 174485 w 199450"/>
              <a:gd name="connsiteY21" fmla="*/ 184381 h 199450"/>
              <a:gd name="connsiteX22" fmla="*/ 186951 w 199450"/>
              <a:gd name="connsiteY22" fmla="*/ 186874 h 199450"/>
              <a:gd name="connsiteX23" fmla="*/ 174485 w 199450"/>
              <a:gd name="connsiteY23" fmla="*/ 188121 h 199450"/>
              <a:gd name="connsiteX24" fmla="*/ 139581 w 199450"/>
              <a:gd name="connsiteY24" fmla="*/ 189368 h 199450"/>
              <a:gd name="connsiteX25" fmla="*/ 12431 w 199450"/>
              <a:gd name="connsiteY25" fmla="*/ 190614 h 199450"/>
              <a:gd name="connsiteX26" fmla="*/ 9938 w 199450"/>
              <a:gd name="connsiteY26" fmla="*/ 190614 h 199450"/>
              <a:gd name="connsiteX27" fmla="*/ 9938 w 199450"/>
              <a:gd name="connsiteY27" fmla="*/ 188121 h 199450"/>
              <a:gd name="connsiteX28" fmla="*/ 9938 w 199450"/>
              <a:gd name="connsiteY28" fmla="*/ 105847 h 199450"/>
              <a:gd name="connsiteX29" fmla="*/ 9938 w 199450"/>
              <a:gd name="connsiteY29" fmla="*/ 60971 h 199450"/>
              <a:gd name="connsiteX30" fmla="*/ 9938 w 199450"/>
              <a:gd name="connsiteY30" fmla="*/ 37286 h 199450"/>
              <a:gd name="connsiteX31" fmla="*/ 9938 w 199450"/>
              <a:gd name="connsiteY31" fmla="*/ 24821 h 199450"/>
              <a:gd name="connsiteX32" fmla="*/ 9938 w 199450"/>
              <a:gd name="connsiteY32" fmla="*/ 18588 h 199450"/>
              <a:gd name="connsiteX33" fmla="*/ 9938 w 199450"/>
              <a:gd name="connsiteY33" fmla="*/ 16095 h 199450"/>
              <a:gd name="connsiteX34" fmla="*/ 9938 w 199450"/>
              <a:gd name="connsiteY34" fmla="*/ 14848 h 199450"/>
              <a:gd name="connsiteX35" fmla="*/ 9938 w 199450"/>
              <a:gd name="connsiteY35" fmla="*/ 13601 h 199450"/>
              <a:gd name="connsiteX36" fmla="*/ 9938 w 199450"/>
              <a:gd name="connsiteY36" fmla="*/ 13601 h 199450"/>
              <a:gd name="connsiteX37" fmla="*/ 9938 w 199450"/>
              <a:gd name="connsiteY37" fmla="*/ 13601 h 199450"/>
              <a:gd name="connsiteX38" fmla="*/ 9938 w 199450"/>
              <a:gd name="connsiteY38" fmla="*/ 13601 h 199450"/>
              <a:gd name="connsiteX39" fmla="*/ 9938 w 199450"/>
              <a:gd name="connsiteY39" fmla="*/ 13601 h 199450"/>
              <a:gd name="connsiteX40" fmla="*/ 13678 w 199450"/>
              <a:gd name="connsiteY40" fmla="*/ 9862 h 199450"/>
              <a:gd name="connsiteX41" fmla="*/ 188197 w 199450"/>
              <a:gd name="connsiteY41" fmla="*/ 9862 h 199450"/>
              <a:gd name="connsiteX42" fmla="*/ 190690 w 199450"/>
              <a:gd name="connsiteY42" fmla="*/ 9862 h 199450"/>
              <a:gd name="connsiteX43" fmla="*/ 190690 w 199450"/>
              <a:gd name="connsiteY43" fmla="*/ 12355 h 199450"/>
              <a:gd name="connsiteX44" fmla="*/ 189444 w 199450"/>
              <a:gd name="connsiteY44" fmla="*/ 139505 h 199450"/>
              <a:gd name="connsiteX45" fmla="*/ 188197 w 199450"/>
              <a:gd name="connsiteY45" fmla="*/ 174409 h 199450"/>
              <a:gd name="connsiteX46" fmla="*/ 186951 w 199450"/>
              <a:gd name="connsiteY46" fmla="*/ 186874 h 19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99450" h="199450">
                <a:moveTo>
                  <a:pt x="186951" y="186874"/>
                </a:moveTo>
                <a:cubicBezTo>
                  <a:pt x="186951" y="186874"/>
                  <a:pt x="186951" y="181888"/>
                  <a:pt x="185704" y="173162"/>
                </a:cubicBezTo>
                <a:cubicBezTo>
                  <a:pt x="185704" y="164436"/>
                  <a:pt x="185704" y="151971"/>
                  <a:pt x="184457" y="137012"/>
                </a:cubicBezTo>
                <a:cubicBezTo>
                  <a:pt x="184457" y="105847"/>
                  <a:pt x="183211" y="62218"/>
                  <a:pt x="183211" y="11108"/>
                </a:cubicBezTo>
                <a:lnTo>
                  <a:pt x="185704" y="13601"/>
                </a:lnTo>
                <a:cubicBezTo>
                  <a:pt x="134595" y="13601"/>
                  <a:pt x="74759" y="13601"/>
                  <a:pt x="11184" y="13601"/>
                </a:cubicBezTo>
                <a:cubicBezTo>
                  <a:pt x="9938" y="14848"/>
                  <a:pt x="17417" y="7369"/>
                  <a:pt x="14924" y="9862"/>
                </a:cubicBezTo>
                <a:lnTo>
                  <a:pt x="14924" y="9862"/>
                </a:lnTo>
                <a:lnTo>
                  <a:pt x="14924" y="9862"/>
                </a:lnTo>
                <a:lnTo>
                  <a:pt x="14924" y="9862"/>
                </a:lnTo>
                <a:lnTo>
                  <a:pt x="14924" y="9862"/>
                </a:lnTo>
                <a:lnTo>
                  <a:pt x="14924" y="11108"/>
                </a:lnTo>
                <a:lnTo>
                  <a:pt x="14924" y="12355"/>
                </a:lnTo>
                <a:lnTo>
                  <a:pt x="14924" y="14848"/>
                </a:lnTo>
                <a:lnTo>
                  <a:pt x="14924" y="21081"/>
                </a:lnTo>
                <a:lnTo>
                  <a:pt x="14924" y="33547"/>
                </a:lnTo>
                <a:cubicBezTo>
                  <a:pt x="14924" y="41026"/>
                  <a:pt x="14924" y="49752"/>
                  <a:pt x="14924" y="57231"/>
                </a:cubicBezTo>
                <a:cubicBezTo>
                  <a:pt x="14924" y="72190"/>
                  <a:pt x="14924" y="87149"/>
                  <a:pt x="14924" y="102108"/>
                </a:cubicBezTo>
                <a:cubicBezTo>
                  <a:pt x="14924" y="132025"/>
                  <a:pt x="14924" y="159450"/>
                  <a:pt x="14924" y="184381"/>
                </a:cubicBezTo>
                <a:lnTo>
                  <a:pt x="12431" y="181888"/>
                </a:lnTo>
                <a:cubicBezTo>
                  <a:pt x="63540" y="181888"/>
                  <a:pt x="107170" y="183135"/>
                  <a:pt x="138334" y="183135"/>
                </a:cubicBezTo>
                <a:cubicBezTo>
                  <a:pt x="153293" y="183135"/>
                  <a:pt x="164512" y="183135"/>
                  <a:pt x="174485" y="184381"/>
                </a:cubicBezTo>
                <a:cubicBezTo>
                  <a:pt x="181964" y="186874"/>
                  <a:pt x="186951" y="186874"/>
                  <a:pt x="186951" y="186874"/>
                </a:cubicBezTo>
                <a:cubicBezTo>
                  <a:pt x="186951" y="186874"/>
                  <a:pt x="183211" y="186874"/>
                  <a:pt x="174485" y="188121"/>
                </a:cubicBezTo>
                <a:cubicBezTo>
                  <a:pt x="165759" y="188121"/>
                  <a:pt x="153293" y="188121"/>
                  <a:pt x="139581" y="189368"/>
                </a:cubicBezTo>
                <a:cubicBezTo>
                  <a:pt x="108417" y="189368"/>
                  <a:pt x="63540" y="190614"/>
                  <a:pt x="12431" y="190614"/>
                </a:cubicBezTo>
                <a:lnTo>
                  <a:pt x="9938" y="190614"/>
                </a:lnTo>
                <a:lnTo>
                  <a:pt x="9938" y="188121"/>
                </a:lnTo>
                <a:cubicBezTo>
                  <a:pt x="9938" y="163190"/>
                  <a:pt x="9938" y="134519"/>
                  <a:pt x="9938" y="105847"/>
                </a:cubicBezTo>
                <a:cubicBezTo>
                  <a:pt x="9938" y="90889"/>
                  <a:pt x="9938" y="75930"/>
                  <a:pt x="9938" y="60971"/>
                </a:cubicBezTo>
                <a:cubicBezTo>
                  <a:pt x="9938" y="53492"/>
                  <a:pt x="9938" y="46012"/>
                  <a:pt x="9938" y="37286"/>
                </a:cubicBezTo>
                <a:lnTo>
                  <a:pt x="9938" y="24821"/>
                </a:lnTo>
                <a:lnTo>
                  <a:pt x="9938" y="18588"/>
                </a:lnTo>
                <a:lnTo>
                  <a:pt x="9938" y="16095"/>
                </a:lnTo>
                <a:lnTo>
                  <a:pt x="9938" y="14848"/>
                </a:lnTo>
                <a:lnTo>
                  <a:pt x="9938" y="13601"/>
                </a:lnTo>
                <a:lnTo>
                  <a:pt x="9938" y="13601"/>
                </a:lnTo>
                <a:lnTo>
                  <a:pt x="9938" y="13601"/>
                </a:lnTo>
                <a:lnTo>
                  <a:pt x="9938" y="13601"/>
                </a:lnTo>
                <a:lnTo>
                  <a:pt x="9938" y="13601"/>
                </a:lnTo>
                <a:cubicBezTo>
                  <a:pt x="7445" y="16095"/>
                  <a:pt x="13678" y="9862"/>
                  <a:pt x="13678" y="9862"/>
                </a:cubicBezTo>
                <a:cubicBezTo>
                  <a:pt x="77253" y="9862"/>
                  <a:pt x="137088" y="9862"/>
                  <a:pt x="188197" y="9862"/>
                </a:cubicBezTo>
                <a:lnTo>
                  <a:pt x="190690" y="9862"/>
                </a:lnTo>
                <a:lnTo>
                  <a:pt x="190690" y="12355"/>
                </a:lnTo>
                <a:cubicBezTo>
                  <a:pt x="190690" y="64711"/>
                  <a:pt x="189444" y="108341"/>
                  <a:pt x="189444" y="139505"/>
                </a:cubicBezTo>
                <a:cubicBezTo>
                  <a:pt x="189444" y="154464"/>
                  <a:pt x="189444" y="165683"/>
                  <a:pt x="188197" y="174409"/>
                </a:cubicBezTo>
                <a:cubicBezTo>
                  <a:pt x="188197" y="183135"/>
                  <a:pt x="186951" y="186874"/>
                  <a:pt x="186951" y="186874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BCB41399-11D2-4BB8-ADDF-D0A217D43250}"/>
              </a:ext>
            </a:extLst>
          </p:cNvPr>
          <p:cNvSpPr/>
          <p:nvPr userDrawn="1"/>
        </p:nvSpPr>
        <p:spPr>
          <a:xfrm>
            <a:off x="1562901" y="2578457"/>
            <a:ext cx="174520" cy="174520"/>
          </a:xfrm>
          <a:custGeom>
            <a:avLst/>
            <a:gdLst>
              <a:gd name="connsiteX0" fmla="*/ 91622 w 174519"/>
              <a:gd name="connsiteY0" fmla="*/ 9349 h 174519"/>
              <a:gd name="connsiteX1" fmla="*/ 120294 w 174519"/>
              <a:gd name="connsiteY1" fmla="*/ 61705 h 174519"/>
              <a:gd name="connsiteX2" fmla="*/ 173896 w 174519"/>
              <a:gd name="connsiteY2" fmla="*/ 91623 h 174519"/>
              <a:gd name="connsiteX3" fmla="*/ 120294 w 174519"/>
              <a:gd name="connsiteY3" fmla="*/ 120294 h 174519"/>
              <a:gd name="connsiteX4" fmla="*/ 91622 w 174519"/>
              <a:gd name="connsiteY4" fmla="*/ 172650 h 174519"/>
              <a:gd name="connsiteX5" fmla="*/ 62952 w 174519"/>
              <a:gd name="connsiteY5" fmla="*/ 120294 h 174519"/>
              <a:gd name="connsiteX6" fmla="*/ 9349 w 174519"/>
              <a:gd name="connsiteY6" fmla="*/ 91623 h 174519"/>
              <a:gd name="connsiteX7" fmla="*/ 62952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1622" y="9349"/>
                </a:moveTo>
                <a:lnTo>
                  <a:pt x="120294" y="61705"/>
                </a:lnTo>
                <a:lnTo>
                  <a:pt x="173896" y="91623"/>
                </a:lnTo>
                <a:lnTo>
                  <a:pt x="120294" y="120294"/>
                </a:lnTo>
                <a:lnTo>
                  <a:pt x="91622" y="172650"/>
                </a:lnTo>
                <a:lnTo>
                  <a:pt x="62952" y="120294"/>
                </a:lnTo>
                <a:lnTo>
                  <a:pt x="9349" y="91623"/>
                </a:lnTo>
                <a:lnTo>
                  <a:pt x="62952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B6233EFA-EF43-445F-9271-549009911A2A}"/>
              </a:ext>
            </a:extLst>
          </p:cNvPr>
          <p:cNvSpPr/>
          <p:nvPr userDrawn="1"/>
        </p:nvSpPr>
        <p:spPr>
          <a:xfrm>
            <a:off x="2806976" y="2824031"/>
            <a:ext cx="99725" cy="99725"/>
          </a:xfrm>
          <a:custGeom>
            <a:avLst/>
            <a:gdLst>
              <a:gd name="connsiteX0" fmla="*/ 50486 w 99725"/>
              <a:gd name="connsiteY0" fmla="*/ 9349 h 99725"/>
              <a:gd name="connsiteX1" fmla="*/ 64198 w 99725"/>
              <a:gd name="connsiteY1" fmla="*/ 35527 h 99725"/>
              <a:gd name="connsiteX2" fmla="*/ 90376 w 99725"/>
              <a:gd name="connsiteY2" fmla="*/ 50486 h 99725"/>
              <a:gd name="connsiteX3" fmla="*/ 64198 w 99725"/>
              <a:gd name="connsiteY3" fmla="*/ 64198 h 99725"/>
              <a:gd name="connsiteX4" fmla="*/ 50486 w 99725"/>
              <a:gd name="connsiteY4" fmla="*/ 90376 h 99725"/>
              <a:gd name="connsiteX5" fmla="*/ 35527 w 99725"/>
              <a:gd name="connsiteY5" fmla="*/ 64198 h 99725"/>
              <a:gd name="connsiteX6" fmla="*/ 9349 w 99725"/>
              <a:gd name="connsiteY6" fmla="*/ 50486 h 99725"/>
              <a:gd name="connsiteX7" fmla="*/ 35527 w 99725"/>
              <a:gd name="connsiteY7" fmla="*/ 35527 h 9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99725">
                <a:moveTo>
                  <a:pt x="50486" y="9349"/>
                </a:moveTo>
                <a:lnTo>
                  <a:pt x="64198" y="35527"/>
                </a:lnTo>
                <a:lnTo>
                  <a:pt x="90376" y="50486"/>
                </a:lnTo>
                <a:lnTo>
                  <a:pt x="64198" y="64198"/>
                </a:lnTo>
                <a:lnTo>
                  <a:pt x="50486" y="90376"/>
                </a:lnTo>
                <a:lnTo>
                  <a:pt x="35527" y="64198"/>
                </a:lnTo>
                <a:lnTo>
                  <a:pt x="9349" y="50486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42D73E42-713C-4C2A-8D67-68481A338389}"/>
              </a:ext>
            </a:extLst>
          </p:cNvPr>
          <p:cNvSpPr/>
          <p:nvPr userDrawn="1"/>
        </p:nvSpPr>
        <p:spPr>
          <a:xfrm>
            <a:off x="1999857" y="2129693"/>
            <a:ext cx="486162" cy="486162"/>
          </a:xfrm>
          <a:custGeom>
            <a:avLst/>
            <a:gdLst>
              <a:gd name="connsiteX0" fmla="*/ 479894 w 486161"/>
              <a:gd name="connsiteY0" fmla="*/ 479306 h 486161"/>
              <a:gd name="connsiteX1" fmla="*/ 479894 w 486161"/>
              <a:gd name="connsiteY1" fmla="*/ 476812 h 486161"/>
              <a:gd name="connsiteX2" fmla="*/ 479894 w 486161"/>
              <a:gd name="connsiteY2" fmla="*/ 470579 h 486161"/>
              <a:gd name="connsiteX3" fmla="*/ 479894 w 486161"/>
              <a:gd name="connsiteY3" fmla="*/ 445648 h 486161"/>
              <a:gd name="connsiteX4" fmla="*/ 478648 w 486161"/>
              <a:gd name="connsiteY4" fmla="*/ 350909 h 486161"/>
              <a:gd name="connsiteX5" fmla="*/ 477401 w 486161"/>
              <a:gd name="connsiteY5" fmla="*/ 13089 h 486161"/>
              <a:gd name="connsiteX6" fmla="*/ 479894 w 486161"/>
              <a:gd name="connsiteY6" fmla="*/ 15582 h 486161"/>
              <a:gd name="connsiteX7" fmla="*/ 12431 w 486161"/>
              <a:gd name="connsiteY7" fmla="*/ 15582 h 486161"/>
              <a:gd name="connsiteX8" fmla="*/ 16171 w 486161"/>
              <a:gd name="connsiteY8" fmla="*/ 11842 h 486161"/>
              <a:gd name="connsiteX9" fmla="*/ 16171 w 486161"/>
              <a:gd name="connsiteY9" fmla="*/ 11842 h 486161"/>
              <a:gd name="connsiteX10" fmla="*/ 16171 w 486161"/>
              <a:gd name="connsiteY10" fmla="*/ 11842 h 486161"/>
              <a:gd name="connsiteX11" fmla="*/ 16171 w 486161"/>
              <a:gd name="connsiteY11" fmla="*/ 11842 h 486161"/>
              <a:gd name="connsiteX12" fmla="*/ 16171 w 486161"/>
              <a:gd name="connsiteY12" fmla="*/ 13089 h 486161"/>
              <a:gd name="connsiteX13" fmla="*/ 16171 w 486161"/>
              <a:gd name="connsiteY13" fmla="*/ 15582 h 486161"/>
              <a:gd name="connsiteX14" fmla="*/ 16171 w 486161"/>
              <a:gd name="connsiteY14" fmla="*/ 19322 h 486161"/>
              <a:gd name="connsiteX15" fmla="*/ 16171 w 486161"/>
              <a:gd name="connsiteY15" fmla="*/ 26801 h 486161"/>
              <a:gd name="connsiteX16" fmla="*/ 16171 w 486161"/>
              <a:gd name="connsiteY16" fmla="*/ 43007 h 486161"/>
              <a:gd name="connsiteX17" fmla="*/ 16171 w 486161"/>
              <a:gd name="connsiteY17" fmla="*/ 74171 h 486161"/>
              <a:gd name="connsiteX18" fmla="*/ 16171 w 486161"/>
              <a:gd name="connsiteY18" fmla="*/ 136499 h 486161"/>
              <a:gd name="connsiteX19" fmla="*/ 16171 w 486161"/>
              <a:gd name="connsiteY19" fmla="*/ 257416 h 486161"/>
              <a:gd name="connsiteX20" fmla="*/ 16171 w 486161"/>
              <a:gd name="connsiteY20" fmla="*/ 478059 h 486161"/>
              <a:gd name="connsiteX21" fmla="*/ 13678 w 486161"/>
              <a:gd name="connsiteY21" fmla="*/ 475566 h 486161"/>
              <a:gd name="connsiteX22" fmla="*/ 351498 w 486161"/>
              <a:gd name="connsiteY22" fmla="*/ 476812 h 486161"/>
              <a:gd name="connsiteX23" fmla="*/ 446237 w 486161"/>
              <a:gd name="connsiteY23" fmla="*/ 478059 h 486161"/>
              <a:gd name="connsiteX24" fmla="*/ 471168 w 486161"/>
              <a:gd name="connsiteY24" fmla="*/ 478059 h 486161"/>
              <a:gd name="connsiteX25" fmla="*/ 477401 w 486161"/>
              <a:gd name="connsiteY25" fmla="*/ 478059 h 486161"/>
              <a:gd name="connsiteX26" fmla="*/ 479894 w 486161"/>
              <a:gd name="connsiteY26" fmla="*/ 479306 h 486161"/>
              <a:gd name="connsiteX27" fmla="*/ 477401 w 486161"/>
              <a:gd name="connsiteY27" fmla="*/ 479306 h 486161"/>
              <a:gd name="connsiteX28" fmla="*/ 471168 w 486161"/>
              <a:gd name="connsiteY28" fmla="*/ 479306 h 486161"/>
              <a:gd name="connsiteX29" fmla="*/ 446237 w 486161"/>
              <a:gd name="connsiteY29" fmla="*/ 479306 h 486161"/>
              <a:gd name="connsiteX30" fmla="*/ 351498 w 486161"/>
              <a:gd name="connsiteY30" fmla="*/ 480552 h 486161"/>
              <a:gd name="connsiteX31" fmla="*/ 12431 w 486161"/>
              <a:gd name="connsiteY31" fmla="*/ 481799 h 486161"/>
              <a:gd name="connsiteX32" fmla="*/ 9938 w 486161"/>
              <a:gd name="connsiteY32" fmla="*/ 481799 h 486161"/>
              <a:gd name="connsiteX33" fmla="*/ 9938 w 486161"/>
              <a:gd name="connsiteY33" fmla="*/ 479306 h 486161"/>
              <a:gd name="connsiteX34" fmla="*/ 9938 w 486161"/>
              <a:gd name="connsiteY34" fmla="*/ 258663 h 486161"/>
              <a:gd name="connsiteX35" fmla="*/ 9938 w 486161"/>
              <a:gd name="connsiteY35" fmla="*/ 137746 h 486161"/>
              <a:gd name="connsiteX36" fmla="*/ 9938 w 486161"/>
              <a:gd name="connsiteY36" fmla="*/ 75417 h 486161"/>
              <a:gd name="connsiteX37" fmla="*/ 9938 w 486161"/>
              <a:gd name="connsiteY37" fmla="*/ 44253 h 486161"/>
              <a:gd name="connsiteX38" fmla="*/ 9938 w 486161"/>
              <a:gd name="connsiteY38" fmla="*/ 28048 h 486161"/>
              <a:gd name="connsiteX39" fmla="*/ 9938 w 486161"/>
              <a:gd name="connsiteY39" fmla="*/ 20568 h 486161"/>
              <a:gd name="connsiteX40" fmla="*/ 9938 w 486161"/>
              <a:gd name="connsiteY40" fmla="*/ 16829 h 486161"/>
              <a:gd name="connsiteX41" fmla="*/ 9938 w 486161"/>
              <a:gd name="connsiteY41" fmla="*/ 14336 h 486161"/>
              <a:gd name="connsiteX42" fmla="*/ 9938 w 486161"/>
              <a:gd name="connsiteY42" fmla="*/ 13089 h 486161"/>
              <a:gd name="connsiteX43" fmla="*/ 9938 w 486161"/>
              <a:gd name="connsiteY43" fmla="*/ 13089 h 486161"/>
              <a:gd name="connsiteX44" fmla="*/ 9938 w 486161"/>
              <a:gd name="connsiteY44" fmla="*/ 13089 h 486161"/>
              <a:gd name="connsiteX45" fmla="*/ 9938 w 486161"/>
              <a:gd name="connsiteY45" fmla="*/ 13089 h 486161"/>
              <a:gd name="connsiteX46" fmla="*/ 13678 w 486161"/>
              <a:gd name="connsiteY46" fmla="*/ 9349 h 486161"/>
              <a:gd name="connsiteX47" fmla="*/ 481141 w 486161"/>
              <a:gd name="connsiteY47" fmla="*/ 9349 h 486161"/>
              <a:gd name="connsiteX48" fmla="*/ 483634 w 486161"/>
              <a:gd name="connsiteY48" fmla="*/ 9349 h 486161"/>
              <a:gd name="connsiteX49" fmla="*/ 483634 w 486161"/>
              <a:gd name="connsiteY49" fmla="*/ 11842 h 486161"/>
              <a:gd name="connsiteX50" fmla="*/ 482388 w 486161"/>
              <a:gd name="connsiteY50" fmla="*/ 350909 h 486161"/>
              <a:gd name="connsiteX51" fmla="*/ 481141 w 486161"/>
              <a:gd name="connsiteY51" fmla="*/ 445648 h 486161"/>
              <a:gd name="connsiteX52" fmla="*/ 481141 w 486161"/>
              <a:gd name="connsiteY52" fmla="*/ 470579 h 486161"/>
              <a:gd name="connsiteX53" fmla="*/ 481141 w 486161"/>
              <a:gd name="connsiteY53" fmla="*/ 476812 h 486161"/>
              <a:gd name="connsiteX54" fmla="*/ 479894 w 486161"/>
              <a:gd name="connsiteY54" fmla="*/ 479306 h 48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86161" h="486161">
                <a:moveTo>
                  <a:pt x="479894" y="479306"/>
                </a:moveTo>
                <a:cubicBezTo>
                  <a:pt x="479894" y="479306"/>
                  <a:pt x="479894" y="478059"/>
                  <a:pt x="479894" y="476812"/>
                </a:cubicBezTo>
                <a:cubicBezTo>
                  <a:pt x="479894" y="475566"/>
                  <a:pt x="479894" y="473073"/>
                  <a:pt x="479894" y="470579"/>
                </a:cubicBezTo>
                <a:cubicBezTo>
                  <a:pt x="479894" y="464347"/>
                  <a:pt x="479894" y="455621"/>
                  <a:pt x="479894" y="445648"/>
                </a:cubicBezTo>
                <a:cubicBezTo>
                  <a:pt x="479894" y="423210"/>
                  <a:pt x="479894" y="390799"/>
                  <a:pt x="478648" y="350909"/>
                </a:cubicBezTo>
                <a:cubicBezTo>
                  <a:pt x="478648" y="268635"/>
                  <a:pt x="477401" y="152705"/>
                  <a:pt x="477401" y="13089"/>
                </a:cubicBezTo>
                <a:lnTo>
                  <a:pt x="479894" y="15582"/>
                </a:lnTo>
                <a:cubicBezTo>
                  <a:pt x="344018" y="15582"/>
                  <a:pt x="183211" y="15582"/>
                  <a:pt x="12431" y="15582"/>
                </a:cubicBezTo>
                <a:cubicBezTo>
                  <a:pt x="11184" y="16829"/>
                  <a:pt x="18664" y="9349"/>
                  <a:pt x="16171" y="11842"/>
                </a:cubicBezTo>
                <a:lnTo>
                  <a:pt x="16171" y="11842"/>
                </a:lnTo>
                <a:lnTo>
                  <a:pt x="16171" y="11842"/>
                </a:lnTo>
                <a:lnTo>
                  <a:pt x="16171" y="11842"/>
                </a:lnTo>
                <a:lnTo>
                  <a:pt x="16171" y="13089"/>
                </a:lnTo>
                <a:lnTo>
                  <a:pt x="16171" y="15582"/>
                </a:lnTo>
                <a:lnTo>
                  <a:pt x="16171" y="19322"/>
                </a:lnTo>
                <a:lnTo>
                  <a:pt x="16171" y="26801"/>
                </a:lnTo>
                <a:lnTo>
                  <a:pt x="16171" y="43007"/>
                </a:lnTo>
                <a:cubicBezTo>
                  <a:pt x="16171" y="54226"/>
                  <a:pt x="16171" y="64198"/>
                  <a:pt x="16171" y="74171"/>
                </a:cubicBezTo>
                <a:cubicBezTo>
                  <a:pt x="16171" y="95362"/>
                  <a:pt x="16171" y="116554"/>
                  <a:pt x="16171" y="136499"/>
                </a:cubicBezTo>
                <a:cubicBezTo>
                  <a:pt x="16171" y="177636"/>
                  <a:pt x="16171" y="217526"/>
                  <a:pt x="16171" y="257416"/>
                </a:cubicBezTo>
                <a:cubicBezTo>
                  <a:pt x="16171" y="335950"/>
                  <a:pt x="16171" y="409498"/>
                  <a:pt x="16171" y="478059"/>
                </a:cubicBezTo>
                <a:lnTo>
                  <a:pt x="13678" y="475566"/>
                </a:lnTo>
                <a:cubicBezTo>
                  <a:pt x="153293" y="475566"/>
                  <a:pt x="269224" y="476812"/>
                  <a:pt x="351498" y="476812"/>
                </a:cubicBezTo>
                <a:cubicBezTo>
                  <a:pt x="392634" y="476812"/>
                  <a:pt x="423799" y="476812"/>
                  <a:pt x="446237" y="478059"/>
                </a:cubicBezTo>
                <a:cubicBezTo>
                  <a:pt x="457456" y="478059"/>
                  <a:pt x="464935" y="478059"/>
                  <a:pt x="471168" y="478059"/>
                </a:cubicBezTo>
                <a:cubicBezTo>
                  <a:pt x="473661" y="478059"/>
                  <a:pt x="476155" y="478059"/>
                  <a:pt x="477401" y="478059"/>
                </a:cubicBezTo>
                <a:cubicBezTo>
                  <a:pt x="478648" y="479306"/>
                  <a:pt x="479894" y="479306"/>
                  <a:pt x="479894" y="479306"/>
                </a:cubicBezTo>
                <a:cubicBezTo>
                  <a:pt x="479894" y="479306"/>
                  <a:pt x="478648" y="479306"/>
                  <a:pt x="477401" y="479306"/>
                </a:cubicBezTo>
                <a:cubicBezTo>
                  <a:pt x="476155" y="479306"/>
                  <a:pt x="473661" y="479306"/>
                  <a:pt x="471168" y="479306"/>
                </a:cubicBezTo>
                <a:cubicBezTo>
                  <a:pt x="464935" y="479306"/>
                  <a:pt x="457456" y="479306"/>
                  <a:pt x="446237" y="479306"/>
                </a:cubicBezTo>
                <a:cubicBezTo>
                  <a:pt x="423799" y="479306"/>
                  <a:pt x="392634" y="479306"/>
                  <a:pt x="351498" y="480552"/>
                </a:cubicBezTo>
                <a:cubicBezTo>
                  <a:pt x="269224" y="480552"/>
                  <a:pt x="152047" y="481799"/>
                  <a:pt x="12431" y="481799"/>
                </a:cubicBezTo>
                <a:lnTo>
                  <a:pt x="9938" y="481799"/>
                </a:lnTo>
                <a:lnTo>
                  <a:pt x="9938" y="479306"/>
                </a:lnTo>
                <a:cubicBezTo>
                  <a:pt x="9938" y="411991"/>
                  <a:pt x="9938" y="337197"/>
                  <a:pt x="9938" y="258663"/>
                </a:cubicBezTo>
                <a:cubicBezTo>
                  <a:pt x="9938" y="220019"/>
                  <a:pt x="9938" y="178883"/>
                  <a:pt x="9938" y="137746"/>
                </a:cubicBezTo>
                <a:cubicBezTo>
                  <a:pt x="9938" y="116554"/>
                  <a:pt x="9938" y="96609"/>
                  <a:pt x="9938" y="75417"/>
                </a:cubicBezTo>
                <a:cubicBezTo>
                  <a:pt x="9938" y="65445"/>
                  <a:pt x="9938" y="54226"/>
                  <a:pt x="9938" y="44253"/>
                </a:cubicBezTo>
                <a:lnTo>
                  <a:pt x="9938" y="28048"/>
                </a:lnTo>
                <a:lnTo>
                  <a:pt x="9938" y="20568"/>
                </a:lnTo>
                <a:lnTo>
                  <a:pt x="9938" y="16829"/>
                </a:lnTo>
                <a:lnTo>
                  <a:pt x="9938" y="14336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184457" y="9349"/>
                  <a:pt x="345265" y="9349"/>
                  <a:pt x="481141" y="9349"/>
                </a:cubicBezTo>
                <a:lnTo>
                  <a:pt x="483634" y="9349"/>
                </a:lnTo>
                <a:lnTo>
                  <a:pt x="483634" y="11842"/>
                </a:lnTo>
                <a:cubicBezTo>
                  <a:pt x="483634" y="152705"/>
                  <a:pt x="482388" y="268635"/>
                  <a:pt x="482388" y="350909"/>
                </a:cubicBezTo>
                <a:cubicBezTo>
                  <a:pt x="482388" y="390799"/>
                  <a:pt x="482388" y="423210"/>
                  <a:pt x="481141" y="445648"/>
                </a:cubicBezTo>
                <a:cubicBezTo>
                  <a:pt x="481141" y="455621"/>
                  <a:pt x="481141" y="464347"/>
                  <a:pt x="481141" y="470579"/>
                </a:cubicBezTo>
                <a:cubicBezTo>
                  <a:pt x="481141" y="473073"/>
                  <a:pt x="481141" y="475566"/>
                  <a:pt x="481141" y="476812"/>
                </a:cubicBezTo>
                <a:cubicBezTo>
                  <a:pt x="479894" y="479306"/>
                  <a:pt x="479894" y="479306"/>
                  <a:pt x="479894" y="479306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1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1/25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90A3F134-252D-4B76-A7F8-4180D3998AC2}"/>
              </a:ext>
            </a:extLst>
          </p:cNvPr>
          <p:cNvSpPr/>
          <p:nvPr userDrawn="1"/>
        </p:nvSpPr>
        <p:spPr>
          <a:xfrm>
            <a:off x="381000" y="368300"/>
            <a:ext cx="11430000" cy="6121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6C83EABF-AA53-4F47-BA6F-E053AB2389F3}"/>
              </a:ext>
            </a:extLst>
          </p:cNvPr>
          <p:cNvGrpSpPr/>
          <p:nvPr userDrawn="1"/>
        </p:nvGrpSpPr>
        <p:grpSpPr>
          <a:xfrm>
            <a:off x="2920999" y="209741"/>
            <a:ext cx="8084813" cy="6279959"/>
            <a:chOff x="2929793" y="92251"/>
            <a:chExt cx="8711020" cy="6766372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04F75F69-21DE-4CD5-8EC7-8B21EB994D5A}"/>
                </a:ext>
              </a:extLst>
            </p:cNvPr>
            <p:cNvSpPr/>
            <p:nvPr/>
          </p:nvSpPr>
          <p:spPr>
            <a:xfrm>
              <a:off x="2929793" y="4764388"/>
              <a:ext cx="8638718" cy="2094235"/>
            </a:xfrm>
            <a:custGeom>
              <a:avLst/>
              <a:gdLst>
                <a:gd name="connsiteX0" fmla="*/ 8631862 w 8638718"/>
                <a:gd name="connsiteY0" fmla="*/ 9349 h 2094234"/>
                <a:gd name="connsiteX1" fmla="*/ 7038748 w 8638718"/>
                <a:gd name="connsiteY1" fmla="*/ 2040009 h 2094234"/>
                <a:gd name="connsiteX2" fmla="*/ 5940521 w 8638718"/>
                <a:gd name="connsiteY2" fmla="*/ 2089872 h 2094234"/>
                <a:gd name="connsiteX3" fmla="*/ 8114537 w 8638718"/>
                <a:gd name="connsiteY3" fmla="*/ 77911 h 2094234"/>
                <a:gd name="connsiteX4" fmla="*/ 7915086 w 8638718"/>
                <a:gd name="connsiteY4" fmla="*/ 92869 h 2094234"/>
                <a:gd name="connsiteX5" fmla="*/ 5448127 w 8638718"/>
                <a:gd name="connsiteY5" fmla="*/ 2026297 h 2094234"/>
                <a:gd name="connsiteX6" fmla="*/ 4263887 w 8638718"/>
                <a:gd name="connsiteY6" fmla="*/ 2026297 h 2094234"/>
                <a:gd name="connsiteX7" fmla="*/ 7875196 w 8638718"/>
                <a:gd name="connsiteY7" fmla="*/ 99102 h 2094234"/>
                <a:gd name="connsiteX8" fmla="*/ 7660786 w 8638718"/>
                <a:gd name="connsiteY8" fmla="*/ 115308 h 2094234"/>
                <a:gd name="connsiteX9" fmla="*/ 3063442 w 8638718"/>
                <a:gd name="connsiteY9" fmla="*/ 2026297 h 2094234"/>
                <a:gd name="connsiteX10" fmla="*/ 9349 w 8638718"/>
                <a:gd name="connsiteY10" fmla="*/ 1000371 h 2094234"/>
                <a:gd name="connsiteX11" fmla="*/ 7246925 w 8638718"/>
                <a:gd name="connsiteY11" fmla="*/ 9349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38718" h="2094234">
                  <a:moveTo>
                    <a:pt x="8631862" y="9349"/>
                  </a:moveTo>
                  <a:lnTo>
                    <a:pt x="7038748" y="2040009"/>
                  </a:lnTo>
                  <a:lnTo>
                    <a:pt x="5940521" y="2089872"/>
                  </a:lnTo>
                  <a:lnTo>
                    <a:pt x="8114537" y="77911"/>
                  </a:lnTo>
                  <a:lnTo>
                    <a:pt x="7915086" y="92869"/>
                  </a:lnTo>
                  <a:lnTo>
                    <a:pt x="5448127" y="2026297"/>
                  </a:lnTo>
                  <a:lnTo>
                    <a:pt x="4263887" y="2026297"/>
                  </a:lnTo>
                  <a:lnTo>
                    <a:pt x="7875196" y="99102"/>
                  </a:lnTo>
                  <a:lnTo>
                    <a:pt x="7660786" y="115308"/>
                  </a:lnTo>
                  <a:lnTo>
                    <a:pt x="3063442" y="2026297"/>
                  </a:lnTo>
                  <a:lnTo>
                    <a:pt x="9349" y="1000371"/>
                  </a:lnTo>
                  <a:lnTo>
                    <a:pt x="7246925" y="9349"/>
                  </a:ln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29000">
                  <a:schemeClr val="accent2">
                    <a:alpha val="57000"/>
                  </a:schemeClr>
                </a:gs>
                <a:gs pos="79000">
                  <a:schemeClr val="accent1">
                    <a:alpha val="0"/>
                  </a:schemeClr>
                </a:gs>
              </a:gsLst>
              <a:lin ang="6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7E37CCF-B5B8-4922-B46E-4B7229E83296}"/>
                </a:ext>
              </a:extLst>
            </p:cNvPr>
            <p:cNvSpPr/>
            <p:nvPr/>
          </p:nvSpPr>
          <p:spPr>
            <a:xfrm>
              <a:off x="9970411" y="1595612"/>
              <a:ext cx="1670402" cy="1608073"/>
            </a:xfrm>
            <a:custGeom>
              <a:avLst/>
              <a:gdLst>
                <a:gd name="connsiteX0" fmla="*/ 1662299 w 1670401"/>
                <a:gd name="connsiteY0" fmla="*/ 805906 h 1608073"/>
                <a:gd name="connsiteX1" fmla="*/ 835825 w 1670401"/>
                <a:gd name="connsiteY1" fmla="*/ 1602463 h 1608073"/>
                <a:gd name="connsiteX2" fmla="*/ 9350 w 1670401"/>
                <a:gd name="connsiteY2" fmla="*/ 805906 h 1608073"/>
                <a:gd name="connsiteX3" fmla="*/ 835825 w 1670401"/>
                <a:gd name="connsiteY3" fmla="*/ 9349 h 1608073"/>
                <a:gd name="connsiteX4" fmla="*/ 1662299 w 1670401"/>
                <a:gd name="connsiteY4" fmla="*/ 805906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01" h="1608073">
                  <a:moveTo>
                    <a:pt x="1662299" y="805906"/>
                  </a:moveTo>
                  <a:cubicBezTo>
                    <a:pt x="1662299" y="1245833"/>
                    <a:pt x="1292274" y="1602463"/>
                    <a:pt x="835825" y="1602463"/>
                  </a:cubicBezTo>
                  <a:cubicBezTo>
                    <a:pt x="379375" y="1602463"/>
                    <a:pt x="9350" y="1245833"/>
                    <a:pt x="9350" y="805906"/>
                  </a:cubicBezTo>
                  <a:cubicBezTo>
                    <a:pt x="9350" y="365980"/>
                    <a:pt x="379375" y="9349"/>
                    <a:pt x="835825" y="9349"/>
                  </a:cubicBezTo>
                  <a:cubicBezTo>
                    <a:pt x="1292274" y="9349"/>
                    <a:pt x="1662299" y="365980"/>
                    <a:pt x="1662299" y="8059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617C842D-42E3-4071-ADC3-2A22FBC7C284}"/>
                </a:ext>
              </a:extLst>
            </p:cNvPr>
            <p:cNvSpPr/>
            <p:nvPr/>
          </p:nvSpPr>
          <p:spPr>
            <a:xfrm>
              <a:off x="10167368" y="2678880"/>
              <a:ext cx="1396156" cy="2094235"/>
            </a:xfrm>
            <a:custGeom>
              <a:avLst/>
              <a:gdLst>
                <a:gd name="connsiteX0" fmla="*/ 9349 w 1396156"/>
                <a:gd name="connsiteY0" fmla="*/ 2094858 h 2094234"/>
                <a:gd name="connsiteX1" fmla="*/ 1394287 w 1396156"/>
                <a:gd name="connsiteY1" fmla="*/ 2094858 h 2094234"/>
                <a:gd name="connsiteX2" fmla="*/ 1162425 w 1396156"/>
                <a:gd name="connsiteY2" fmla="*/ 338443 h 2094234"/>
                <a:gd name="connsiteX3" fmla="*/ 934303 w 1396156"/>
                <a:gd name="connsiteY3" fmla="*/ 9349 h 2094234"/>
                <a:gd name="connsiteX4" fmla="*/ 329717 w 1396156"/>
                <a:gd name="connsiteY4" fmla="*/ 200074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6156" h="2094234">
                  <a:moveTo>
                    <a:pt x="9349" y="2094858"/>
                  </a:moveTo>
                  <a:lnTo>
                    <a:pt x="1394287" y="2094858"/>
                  </a:lnTo>
                  <a:lnTo>
                    <a:pt x="1162425" y="338443"/>
                  </a:lnTo>
                  <a:lnTo>
                    <a:pt x="934303" y="9349"/>
                  </a:lnTo>
                  <a:lnTo>
                    <a:pt x="329717" y="2000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0F63C459-0A0B-4C09-A855-94F799EEA187}"/>
                </a:ext>
              </a:extLst>
            </p:cNvPr>
            <p:cNvSpPr/>
            <p:nvPr/>
          </p:nvSpPr>
          <p:spPr>
            <a:xfrm>
              <a:off x="9959832" y="1598461"/>
              <a:ext cx="1146843" cy="1608073"/>
            </a:xfrm>
            <a:custGeom>
              <a:avLst/>
              <a:gdLst>
                <a:gd name="connsiteX0" fmla="*/ 248050 w 1146842"/>
                <a:gd name="connsiteY0" fmla="*/ 653469 h 1608073"/>
                <a:gd name="connsiteX1" fmla="*/ 1141839 w 1146842"/>
                <a:gd name="connsiteY1" fmla="*/ 72568 h 1608073"/>
                <a:gd name="connsiteX2" fmla="*/ 1037128 w 1146842"/>
                <a:gd name="connsiteY2" fmla="*/ 37664 h 1608073"/>
                <a:gd name="connsiteX3" fmla="*/ 34887 w 1146842"/>
                <a:gd name="connsiteY3" fmla="*/ 597374 h 1608073"/>
                <a:gd name="connsiteX4" fmla="*/ 631993 w 1146842"/>
                <a:gd name="connsiteY4" fmla="*/ 1578423 h 1608073"/>
                <a:gd name="connsiteX5" fmla="*/ 740444 w 1146842"/>
                <a:gd name="connsiteY5" fmla="*/ 1599614 h 1608073"/>
                <a:gd name="connsiteX6" fmla="*/ 248050 w 1146842"/>
                <a:gd name="connsiteY6" fmla="*/ 653469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6842" h="1608073">
                  <a:moveTo>
                    <a:pt x="248050" y="653469"/>
                  </a:moveTo>
                  <a:cubicBezTo>
                    <a:pt x="350268" y="263293"/>
                    <a:pt x="736704" y="20212"/>
                    <a:pt x="1141839" y="72568"/>
                  </a:cubicBezTo>
                  <a:cubicBezTo>
                    <a:pt x="1108182" y="58856"/>
                    <a:pt x="1073278" y="46390"/>
                    <a:pt x="1037128" y="37664"/>
                  </a:cubicBezTo>
                  <a:cubicBezTo>
                    <a:pt x="595842" y="-78266"/>
                    <a:pt x="147078" y="172294"/>
                    <a:pt x="34887" y="597374"/>
                  </a:cubicBezTo>
                  <a:cubicBezTo>
                    <a:pt x="-77305" y="1022453"/>
                    <a:pt x="190708" y="1461245"/>
                    <a:pt x="631993" y="1578423"/>
                  </a:cubicBezTo>
                  <a:cubicBezTo>
                    <a:pt x="668143" y="1588395"/>
                    <a:pt x="704294" y="1594628"/>
                    <a:pt x="740444" y="1599614"/>
                  </a:cubicBezTo>
                  <a:cubicBezTo>
                    <a:pt x="362734" y="1445040"/>
                    <a:pt x="145832" y="1043645"/>
                    <a:pt x="248050" y="653469"/>
                  </a:cubicBez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B31CF4DE-C23A-414D-A7FE-EE590CA08C46}"/>
                </a:ext>
              </a:extLst>
            </p:cNvPr>
            <p:cNvSpPr/>
            <p:nvPr/>
          </p:nvSpPr>
          <p:spPr>
            <a:xfrm>
              <a:off x="10167368" y="3106453"/>
              <a:ext cx="536024" cy="1670401"/>
            </a:xfrm>
            <a:custGeom>
              <a:avLst/>
              <a:gdLst>
                <a:gd name="connsiteX0" fmla="*/ 532908 w 536024"/>
                <a:gd name="connsiteY0" fmla="*/ 90376 h 1670401"/>
                <a:gd name="connsiteX1" fmla="*/ 337197 w 536024"/>
                <a:gd name="connsiteY1" fmla="*/ 1667285 h 1670401"/>
                <a:gd name="connsiteX2" fmla="*/ 9349 w 536024"/>
                <a:gd name="connsiteY2" fmla="*/ 1667285 h 1670401"/>
                <a:gd name="connsiteX3" fmla="*/ 271129 w 536024"/>
                <a:gd name="connsiteY3" fmla="*/ 9349 h 167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6024" h="1670401">
                  <a:moveTo>
                    <a:pt x="532908" y="90376"/>
                  </a:moveTo>
                  <a:lnTo>
                    <a:pt x="337197" y="1667285"/>
                  </a:lnTo>
                  <a:lnTo>
                    <a:pt x="9349" y="1667285"/>
                  </a:lnTo>
                  <a:lnTo>
                    <a:pt x="271129" y="934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C0F1611C-8E23-4761-A568-47E9445CAAD7}"/>
                </a:ext>
              </a:extLst>
            </p:cNvPr>
            <p:cNvSpPr/>
            <p:nvPr/>
          </p:nvSpPr>
          <p:spPr>
            <a:xfrm>
              <a:off x="10409203" y="3106453"/>
              <a:ext cx="311642" cy="137123"/>
            </a:xfrm>
            <a:custGeom>
              <a:avLst/>
              <a:gdLst>
                <a:gd name="connsiteX0" fmla="*/ 29294 w 311642"/>
                <a:gd name="connsiteY0" fmla="*/ 9349 h 137122"/>
                <a:gd name="connsiteX1" fmla="*/ 308526 w 311642"/>
                <a:gd name="connsiteY1" fmla="*/ 9349 h 137122"/>
                <a:gd name="connsiteX2" fmla="*/ 284841 w 311642"/>
                <a:gd name="connsiteY2" fmla="*/ 136499 h 137122"/>
                <a:gd name="connsiteX3" fmla="*/ 9349 w 311642"/>
                <a:gd name="connsiteY3" fmla="*/ 13649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642" h="137122">
                  <a:moveTo>
                    <a:pt x="29294" y="9349"/>
                  </a:moveTo>
                  <a:lnTo>
                    <a:pt x="308526" y="9349"/>
                  </a:lnTo>
                  <a:lnTo>
                    <a:pt x="284841" y="136499"/>
                  </a:lnTo>
                  <a:lnTo>
                    <a:pt x="9349" y="13649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56B23A71-D034-4EC5-AA02-24211F633DB3}"/>
                </a:ext>
              </a:extLst>
            </p:cNvPr>
            <p:cNvSpPr/>
            <p:nvPr/>
          </p:nvSpPr>
          <p:spPr>
            <a:xfrm>
              <a:off x="10137451" y="2763647"/>
              <a:ext cx="585887" cy="398902"/>
            </a:xfrm>
            <a:custGeom>
              <a:avLst/>
              <a:gdLst>
                <a:gd name="connsiteX0" fmla="*/ 580277 w 585887"/>
                <a:gd name="connsiteY0" fmla="*/ 352156 h 398901"/>
                <a:gd name="connsiteX1" fmla="*/ 116554 w 585887"/>
                <a:gd name="connsiteY1" fmla="*/ 9349 h 398901"/>
                <a:gd name="connsiteX2" fmla="*/ 9349 w 585887"/>
                <a:gd name="connsiteY2" fmla="*/ 105335 h 398901"/>
                <a:gd name="connsiteX3" fmla="*/ 398279 w 585887"/>
                <a:gd name="connsiteY3" fmla="*/ 395785 h 398901"/>
                <a:gd name="connsiteX4" fmla="*/ 580277 w 585887"/>
                <a:gd name="connsiteY4" fmla="*/ 352156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887" h="398901">
                  <a:moveTo>
                    <a:pt x="580277" y="352156"/>
                  </a:moveTo>
                  <a:cubicBezTo>
                    <a:pt x="580277" y="352156"/>
                    <a:pt x="239964" y="282348"/>
                    <a:pt x="116554" y="9349"/>
                  </a:cubicBezTo>
                  <a:lnTo>
                    <a:pt x="9349" y="105335"/>
                  </a:lnTo>
                  <a:lnTo>
                    <a:pt x="398279" y="395785"/>
                  </a:lnTo>
                  <a:lnTo>
                    <a:pt x="580277" y="352156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D0C5AA6-47FD-4B89-9CAC-B9E4666ADE23}"/>
                </a:ext>
              </a:extLst>
            </p:cNvPr>
            <p:cNvSpPr/>
            <p:nvPr/>
          </p:nvSpPr>
          <p:spPr>
            <a:xfrm>
              <a:off x="7189317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2 w 3203680"/>
                <a:gd name="connsiteY3" fmla="*/ 294813 h 860132"/>
                <a:gd name="connsiteX4" fmla="*/ 3120784 w 3203680"/>
                <a:gd name="connsiteY4" fmla="*/ 802167 h 860132"/>
                <a:gd name="connsiteX5" fmla="*/ 2901388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0085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1387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2" y="294813"/>
                  </a:lnTo>
                  <a:lnTo>
                    <a:pt x="3120784" y="802167"/>
                  </a:lnTo>
                  <a:lnTo>
                    <a:pt x="2901388" y="803413"/>
                  </a:lnTo>
                  <a:lnTo>
                    <a:pt x="2910114" y="650085"/>
                  </a:lnTo>
                  <a:lnTo>
                    <a:pt x="2795430" y="650085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1387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39DBEA27-BA65-4565-99DB-61A93339F7CF}"/>
                </a:ext>
              </a:extLst>
            </p:cNvPr>
            <p:cNvSpPr/>
            <p:nvPr/>
          </p:nvSpPr>
          <p:spPr>
            <a:xfrm>
              <a:off x="6364084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0035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794E5FF3-7E3B-44D7-A659-3431C7D62C07}"/>
                </a:ext>
              </a:extLst>
            </p:cNvPr>
            <p:cNvSpPr/>
            <p:nvPr/>
          </p:nvSpPr>
          <p:spPr>
            <a:xfrm>
              <a:off x="7136961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3 w 3203680"/>
                <a:gd name="connsiteY3" fmla="*/ 296060 h 860132"/>
                <a:gd name="connsiteX4" fmla="*/ 3119537 w 3203680"/>
                <a:gd name="connsiteY4" fmla="*/ 802167 h 860132"/>
                <a:gd name="connsiteX5" fmla="*/ 2900142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1332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2633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3" y="296060"/>
                  </a:lnTo>
                  <a:lnTo>
                    <a:pt x="3119537" y="802167"/>
                  </a:lnTo>
                  <a:lnTo>
                    <a:pt x="2900142" y="803413"/>
                  </a:lnTo>
                  <a:lnTo>
                    <a:pt x="2910114" y="650085"/>
                  </a:lnTo>
                  <a:lnTo>
                    <a:pt x="2795430" y="651332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2633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36E6631-19B2-49E4-A1C7-1E8AE877C8DA}"/>
                </a:ext>
              </a:extLst>
            </p:cNvPr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16B1670-AF64-4003-9BD9-2B071E4B5CED}"/>
                </a:ext>
              </a:extLst>
            </p:cNvPr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5E2A9390-E177-4BFD-B2C5-2BABB62CDC45}"/>
                </a:ext>
              </a:extLst>
            </p:cNvPr>
            <p:cNvSpPr/>
            <p:nvPr/>
          </p:nvSpPr>
          <p:spPr>
            <a:xfrm>
              <a:off x="10263583" y="2985536"/>
              <a:ext cx="124657" cy="299176"/>
            </a:xfrm>
            <a:custGeom>
              <a:avLst/>
              <a:gdLst>
                <a:gd name="connsiteX0" fmla="*/ 67709 w 124656"/>
                <a:gd name="connsiteY0" fmla="*/ 9349 h 299176"/>
                <a:gd name="connsiteX1" fmla="*/ 68955 w 124656"/>
                <a:gd name="connsiteY1" fmla="*/ 294813 h 299176"/>
                <a:gd name="connsiteX2" fmla="*/ 67709 w 124656"/>
                <a:gd name="connsiteY2" fmla="*/ 9349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299176">
                  <a:moveTo>
                    <a:pt x="67709" y="9349"/>
                  </a:moveTo>
                  <a:cubicBezTo>
                    <a:pt x="67709" y="9349"/>
                    <a:pt x="-64427" y="120294"/>
                    <a:pt x="68955" y="294813"/>
                  </a:cubicBezTo>
                  <a:cubicBezTo>
                    <a:pt x="67709" y="294813"/>
                    <a:pt x="186133" y="127773"/>
                    <a:pt x="67709" y="934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A3ED97B-41FA-43D7-AD1C-973E1399D0F6}"/>
                </a:ext>
              </a:extLst>
            </p:cNvPr>
            <p:cNvSpPr/>
            <p:nvPr/>
          </p:nvSpPr>
          <p:spPr>
            <a:xfrm>
              <a:off x="10128725" y="3647775"/>
              <a:ext cx="186985" cy="149588"/>
            </a:xfrm>
            <a:custGeom>
              <a:avLst/>
              <a:gdLst>
                <a:gd name="connsiteX0" fmla="*/ 9349 w 186985"/>
                <a:gd name="connsiteY0" fmla="*/ 144914 h 149588"/>
                <a:gd name="connsiteX1" fmla="*/ 61705 w 186985"/>
                <a:gd name="connsiteY1" fmla="*/ 42695 h 149588"/>
                <a:gd name="connsiteX2" fmla="*/ 96609 w 186985"/>
                <a:gd name="connsiteY2" fmla="*/ 23996 h 149588"/>
                <a:gd name="connsiteX3" fmla="*/ 136499 w 186985"/>
                <a:gd name="connsiteY3" fmla="*/ 10284 h 149588"/>
                <a:gd name="connsiteX4" fmla="*/ 177636 w 186985"/>
                <a:gd name="connsiteY4" fmla="*/ 17764 h 149588"/>
                <a:gd name="connsiteX5" fmla="*/ 181376 w 186985"/>
                <a:gd name="connsiteY5" fmla="*/ 139928 h 149588"/>
                <a:gd name="connsiteX6" fmla="*/ 9349 w 186985"/>
                <a:gd name="connsiteY6" fmla="*/ 1449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985" h="149588">
                  <a:moveTo>
                    <a:pt x="9349" y="144914"/>
                  </a:moveTo>
                  <a:cubicBezTo>
                    <a:pt x="9349" y="105023"/>
                    <a:pt x="29294" y="66380"/>
                    <a:pt x="61705" y="42695"/>
                  </a:cubicBezTo>
                  <a:cubicBezTo>
                    <a:pt x="72924" y="35215"/>
                    <a:pt x="85390" y="28983"/>
                    <a:pt x="96609" y="23996"/>
                  </a:cubicBezTo>
                  <a:cubicBezTo>
                    <a:pt x="109075" y="17764"/>
                    <a:pt x="122787" y="12777"/>
                    <a:pt x="136499" y="10284"/>
                  </a:cubicBezTo>
                  <a:cubicBezTo>
                    <a:pt x="150211" y="7791"/>
                    <a:pt x="165170" y="10284"/>
                    <a:pt x="177636" y="17764"/>
                  </a:cubicBezTo>
                  <a:lnTo>
                    <a:pt x="181376" y="139928"/>
                  </a:lnTo>
                  <a:lnTo>
                    <a:pt x="9349" y="144914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86C4274-178C-4624-A3BF-AE7CB84EE587}"/>
                </a:ext>
              </a:extLst>
            </p:cNvPr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noFill/>
            <a:ln w="9525" cap="flat">
              <a:solidFill>
                <a:srgbClr val="282F5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67B9C93F-7E23-4759-A348-094FE8068BDF}"/>
                </a:ext>
              </a:extLst>
            </p:cNvPr>
            <p:cNvSpPr/>
            <p:nvPr/>
          </p:nvSpPr>
          <p:spPr>
            <a:xfrm>
              <a:off x="10305159" y="2990808"/>
              <a:ext cx="87260" cy="286711"/>
            </a:xfrm>
            <a:custGeom>
              <a:avLst/>
              <a:gdLst>
                <a:gd name="connsiteX0" fmla="*/ 68517 w 87259"/>
                <a:gd name="connsiteY0" fmla="*/ 280816 h 286710"/>
                <a:gd name="connsiteX1" fmla="*/ 23640 w 87259"/>
                <a:gd name="connsiteY1" fmla="*/ 217240 h 286710"/>
                <a:gd name="connsiteX2" fmla="*/ 13667 w 87259"/>
                <a:gd name="connsiteY2" fmla="*/ 164885 h 286710"/>
                <a:gd name="connsiteX3" fmla="*/ 13667 w 87259"/>
                <a:gd name="connsiteY3" fmla="*/ 58926 h 286710"/>
                <a:gd name="connsiteX4" fmla="*/ 34859 w 87259"/>
                <a:gd name="connsiteY4" fmla="*/ 16543 h 286710"/>
                <a:gd name="connsiteX5" fmla="*/ 78489 w 87259"/>
                <a:gd name="connsiteY5" fmla="*/ 19036 h 286710"/>
                <a:gd name="connsiteX6" fmla="*/ 68517 w 87259"/>
                <a:gd name="connsiteY6" fmla="*/ 280816 h 28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259" h="286710">
                  <a:moveTo>
                    <a:pt x="68517" y="280816"/>
                  </a:moveTo>
                  <a:cubicBezTo>
                    <a:pt x="51064" y="260870"/>
                    <a:pt x="32366" y="240925"/>
                    <a:pt x="23640" y="217240"/>
                  </a:cubicBezTo>
                  <a:cubicBezTo>
                    <a:pt x="17407" y="201035"/>
                    <a:pt x="16161" y="182337"/>
                    <a:pt x="13667" y="164885"/>
                  </a:cubicBezTo>
                  <a:cubicBezTo>
                    <a:pt x="9928" y="129981"/>
                    <a:pt x="6188" y="93830"/>
                    <a:pt x="13667" y="58926"/>
                  </a:cubicBezTo>
                  <a:cubicBezTo>
                    <a:pt x="16161" y="42721"/>
                    <a:pt x="22393" y="26515"/>
                    <a:pt x="34859" y="16543"/>
                  </a:cubicBezTo>
                  <a:cubicBezTo>
                    <a:pt x="47325" y="6571"/>
                    <a:pt x="68517" y="6571"/>
                    <a:pt x="78489" y="19036"/>
                  </a:cubicBezTo>
                  <a:lnTo>
                    <a:pt x="68517" y="280816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481B7000-6840-4362-BDEC-76BCE969C700}"/>
                </a:ext>
              </a:extLst>
            </p:cNvPr>
            <p:cNvSpPr/>
            <p:nvPr/>
          </p:nvSpPr>
          <p:spPr>
            <a:xfrm>
              <a:off x="6624566" y="3111384"/>
              <a:ext cx="236848" cy="249314"/>
            </a:xfrm>
            <a:custGeom>
              <a:avLst/>
              <a:gdLst>
                <a:gd name="connsiteX0" fmla="*/ 213842 w 236847"/>
                <a:gd name="connsiteY0" fmla="*/ 9404 h 249313"/>
                <a:gd name="connsiteX1" fmla="*/ 236280 w 236847"/>
                <a:gd name="connsiteY1" fmla="*/ 61760 h 249313"/>
                <a:gd name="connsiteX2" fmla="*/ 233787 w 236847"/>
                <a:gd name="connsiteY2" fmla="*/ 121596 h 249313"/>
                <a:gd name="connsiteX3" fmla="*/ 220074 w 236847"/>
                <a:gd name="connsiteY3" fmla="*/ 160239 h 249313"/>
                <a:gd name="connsiteX4" fmla="*/ 191403 w 236847"/>
                <a:gd name="connsiteY4" fmla="*/ 195143 h 249313"/>
                <a:gd name="connsiteX5" fmla="*/ 63007 w 236847"/>
                <a:gd name="connsiteY5" fmla="*/ 241266 h 249313"/>
                <a:gd name="connsiteX6" fmla="*/ 9404 w 236847"/>
                <a:gd name="connsiteY6" fmla="*/ 221321 h 249313"/>
                <a:gd name="connsiteX7" fmla="*/ 56774 w 236847"/>
                <a:gd name="connsiteY7" fmla="*/ 196390 h 249313"/>
                <a:gd name="connsiteX8" fmla="*/ 102897 w 236847"/>
                <a:gd name="connsiteY8" fmla="*/ 176445 h 249313"/>
                <a:gd name="connsiteX9" fmla="*/ 151513 w 236847"/>
                <a:gd name="connsiteY9" fmla="*/ 145281 h 249313"/>
                <a:gd name="connsiteX10" fmla="*/ 178938 w 236847"/>
                <a:gd name="connsiteY10" fmla="*/ 105390 h 249313"/>
                <a:gd name="connsiteX11" fmla="*/ 192650 w 236847"/>
                <a:gd name="connsiteY11" fmla="*/ 56774 h 249313"/>
                <a:gd name="connsiteX12" fmla="*/ 213842 w 236847"/>
                <a:gd name="connsiteY12" fmla="*/ 9404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249313">
                  <a:moveTo>
                    <a:pt x="213842" y="9404"/>
                  </a:moveTo>
                  <a:cubicBezTo>
                    <a:pt x="222568" y="8158"/>
                    <a:pt x="232540" y="28103"/>
                    <a:pt x="236280" y="61760"/>
                  </a:cubicBezTo>
                  <a:cubicBezTo>
                    <a:pt x="237527" y="79212"/>
                    <a:pt x="238773" y="97911"/>
                    <a:pt x="233787" y="121596"/>
                  </a:cubicBezTo>
                  <a:cubicBezTo>
                    <a:pt x="231294" y="134061"/>
                    <a:pt x="227554" y="146527"/>
                    <a:pt x="220074" y="160239"/>
                  </a:cubicBezTo>
                  <a:cubicBezTo>
                    <a:pt x="212595" y="173951"/>
                    <a:pt x="202623" y="185170"/>
                    <a:pt x="191403" y="195143"/>
                  </a:cubicBezTo>
                  <a:cubicBezTo>
                    <a:pt x="146527" y="231294"/>
                    <a:pt x="97911" y="241266"/>
                    <a:pt x="63007" y="241266"/>
                  </a:cubicBezTo>
                  <a:cubicBezTo>
                    <a:pt x="28103" y="240020"/>
                    <a:pt x="8158" y="230047"/>
                    <a:pt x="9404" y="221321"/>
                  </a:cubicBezTo>
                  <a:cubicBezTo>
                    <a:pt x="9404" y="212595"/>
                    <a:pt x="29350" y="206362"/>
                    <a:pt x="56774" y="196390"/>
                  </a:cubicBezTo>
                  <a:cubicBezTo>
                    <a:pt x="70486" y="191403"/>
                    <a:pt x="86692" y="185170"/>
                    <a:pt x="102897" y="176445"/>
                  </a:cubicBezTo>
                  <a:cubicBezTo>
                    <a:pt x="119103" y="167719"/>
                    <a:pt x="137801" y="157746"/>
                    <a:pt x="151513" y="145281"/>
                  </a:cubicBezTo>
                  <a:cubicBezTo>
                    <a:pt x="165225" y="132815"/>
                    <a:pt x="172705" y="121596"/>
                    <a:pt x="178938" y="105390"/>
                  </a:cubicBezTo>
                  <a:cubicBezTo>
                    <a:pt x="185171" y="89185"/>
                    <a:pt x="188910" y="70486"/>
                    <a:pt x="192650" y="56774"/>
                  </a:cubicBezTo>
                  <a:cubicBezTo>
                    <a:pt x="198883" y="29350"/>
                    <a:pt x="205116" y="9404"/>
                    <a:pt x="213842" y="9404"/>
                  </a:cubicBez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F8DDD37-7DD8-4D79-83FD-E776AB1C74A2}"/>
                </a:ext>
              </a:extLst>
            </p:cNvPr>
            <p:cNvSpPr/>
            <p:nvPr/>
          </p:nvSpPr>
          <p:spPr>
            <a:xfrm>
              <a:off x="8432145" y="3025656"/>
              <a:ext cx="785338" cy="224382"/>
            </a:xfrm>
            <a:custGeom>
              <a:avLst/>
              <a:gdLst>
                <a:gd name="connsiteX0" fmla="*/ 49240 w 785338"/>
                <a:gd name="connsiteY0" fmla="*/ 14105 h 224382"/>
                <a:gd name="connsiteX1" fmla="*/ 191348 w 785338"/>
                <a:gd name="connsiteY1" fmla="*/ 46516 h 224382"/>
                <a:gd name="connsiteX2" fmla="*/ 316005 w 785338"/>
                <a:gd name="connsiteY2" fmla="*/ 182392 h 224382"/>
                <a:gd name="connsiteX3" fmla="*/ 483045 w 785338"/>
                <a:gd name="connsiteY3" fmla="*/ 176159 h 224382"/>
                <a:gd name="connsiteX4" fmla="*/ 646346 w 785338"/>
                <a:gd name="connsiteY4" fmla="*/ 120063 h 224382"/>
                <a:gd name="connsiteX5" fmla="*/ 780975 w 785338"/>
                <a:gd name="connsiteY5" fmla="*/ 201090 h 224382"/>
                <a:gd name="connsiteX6" fmla="*/ 9349 w 785338"/>
                <a:gd name="connsiteY6" fmla="*/ 226021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338" h="224382">
                  <a:moveTo>
                    <a:pt x="49240" y="14105"/>
                  </a:moveTo>
                  <a:cubicBezTo>
                    <a:pt x="97856" y="1639"/>
                    <a:pt x="152705" y="14105"/>
                    <a:pt x="191348" y="46516"/>
                  </a:cubicBezTo>
                  <a:cubicBezTo>
                    <a:pt x="238718" y="86406"/>
                    <a:pt x="262403" y="152474"/>
                    <a:pt x="316005" y="182392"/>
                  </a:cubicBezTo>
                  <a:cubicBezTo>
                    <a:pt x="367115" y="209816"/>
                    <a:pt x="429443" y="197350"/>
                    <a:pt x="483045" y="176159"/>
                  </a:cubicBezTo>
                  <a:cubicBezTo>
                    <a:pt x="536648" y="154967"/>
                    <a:pt x="589004" y="125050"/>
                    <a:pt x="646346" y="120063"/>
                  </a:cubicBezTo>
                  <a:cubicBezTo>
                    <a:pt x="703688" y="115077"/>
                    <a:pt x="769756" y="144995"/>
                    <a:pt x="780975" y="201090"/>
                  </a:cubicBezTo>
                  <a:cubicBezTo>
                    <a:pt x="529168" y="216049"/>
                    <a:pt x="261156" y="211063"/>
                    <a:pt x="9349" y="226021"/>
                  </a:cubicBezTo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246CFF49-3264-444A-BD84-22834AFA2FA8}"/>
                </a:ext>
              </a:extLst>
            </p:cNvPr>
            <p:cNvSpPr/>
            <p:nvPr/>
          </p:nvSpPr>
          <p:spPr>
            <a:xfrm>
              <a:off x="6288048" y="3006727"/>
              <a:ext cx="760407" cy="723010"/>
            </a:xfrm>
            <a:custGeom>
              <a:avLst/>
              <a:gdLst>
                <a:gd name="connsiteX0" fmla="*/ 29294 w 760406"/>
                <a:gd name="connsiteY0" fmla="*/ 9349 h 723009"/>
                <a:gd name="connsiteX1" fmla="*/ 161431 w 760406"/>
                <a:gd name="connsiteY1" fmla="*/ 116554 h 723009"/>
                <a:gd name="connsiteX2" fmla="*/ 207554 w 760406"/>
                <a:gd name="connsiteY2" fmla="*/ 314758 h 723009"/>
                <a:gd name="connsiteX3" fmla="*/ 203814 w 760406"/>
                <a:gd name="connsiteY3" fmla="*/ 439415 h 723009"/>
                <a:gd name="connsiteX4" fmla="*/ 389553 w 760406"/>
                <a:gd name="connsiteY4" fmla="*/ 613935 h 723009"/>
                <a:gd name="connsiteX5" fmla="*/ 476812 w 760406"/>
                <a:gd name="connsiteY5" fmla="*/ 606456 h 723009"/>
                <a:gd name="connsiteX6" fmla="*/ 587757 w 760406"/>
                <a:gd name="connsiteY6" fmla="*/ 589003 h 723009"/>
                <a:gd name="connsiteX7" fmla="*/ 734852 w 760406"/>
                <a:gd name="connsiteY7" fmla="*/ 632633 h 723009"/>
                <a:gd name="connsiteX8" fmla="*/ 752304 w 760406"/>
                <a:gd name="connsiteY8" fmla="*/ 689975 h 723009"/>
                <a:gd name="connsiteX9" fmla="*/ 754797 w 760406"/>
                <a:gd name="connsiteY9" fmla="*/ 726126 h 723009"/>
                <a:gd name="connsiteX10" fmla="*/ 562826 w 760406"/>
                <a:gd name="connsiteY10" fmla="*/ 721140 h 723009"/>
                <a:gd name="connsiteX11" fmla="*/ 9349 w 760406"/>
                <a:gd name="connsiteY11" fmla="*/ 202567 h 723009"/>
                <a:gd name="connsiteX12" fmla="*/ 29294 w 760406"/>
                <a:gd name="connsiteY12" fmla="*/ 9349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0406" h="723009">
                  <a:moveTo>
                    <a:pt x="29294" y="9349"/>
                  </a:moveTo>
                  <a:cubicBezTo>
                    <a:pt x="97856" y="11842"/>
                    <a:pt x="125280" y="57965"/>
                    <a:pt x="161431" y="116554"/>
                  </a:cubicBezTo>
                  <a:cubicBezTo>
                    <a:pt x="197581" y="175143"/>
                    <a:pt x="210047" y="246197"/>
                    <a:pt x="207554" y="314758"/>
                  </a:cubicBezTo>
                  <a:cubicBezTo>
                    <a:pt x="205061" y="355895"/>
                    <a:pt x="198828" y="398279"/>
                    <a:pt x="203814" y="439415"/>
                  </a:cubicBezTo>
                  <a:cubicBezTo>
                    <a:pt x="216280" y="530415"/>
                    <a:pt x="298553" y="607702"/>
                    <a:pt x="389553" y="613935"/>
                  </a:cubicBezTo>
                  <a:cubicBezTo>
                    <a:pt x="419470" y="616428"/>
                    <a:pt x="448141" y="611442"/>
                    <a:pt x="476812" y="606456"/>
                  </a:cubicBezTo>
                  <a:cubicBezTo>
                    <a:pt x="514209" y="600223"/>
                    <a:pt x="550360" y="595236"/>
                    <a:pt x="587757" y="589003"/>
                  </a:cubicBezTo>
                  <a:cubicBezTo>
                    <a:pt x="640113" y="581524"/>
                    <a:pt x="699948" y="574045"/>
                    <a:pt x="734852" y="632633"/>
                  </a:cubicBezTo>
                  <a:cubicBezTo>
                    <a:pt x="744825" y="650085"/>
                    <a:pt x="749811" y="670030"/>
                    <a:pt x="752304" y="689975"/>
                  </a:cubicBezTo>
                  <a:cubicBezTo>
                    <a:pt x="754797" y="726126"/>
                    <a:pt x="764770" y="691222"/>
                    <a:pt x="754797" y="726126"/>
                  </a:cubicBezTo>
                  <a:lnTo>
                    <a:pt x="562826" y="721140"/>
                  </a:lnTo>
                  <a:cubicBezTo>
                    <a:pt x="273622" y="713660"/>
                    <a:pt x="35527" y="490525"/>
                    <a:pt x="9349" y="202567"/>
                  </a:cubicBezTo>
                  <a:lnTo>
                    <a:pt x="29294" y="9349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CDE0BD79-D8BD-4C26-AD6C-7F46D2D16C2F}"/>
                </a:ext>
              </a:extLst>
            </p:cNvPr>
            <p:cNvSpPr/>
            <p:nvPr/>
          </p:nvSpPr>
          <p:spPr>
            <a:xfrm>
              <a:off x="6821579" y="3653452"/>
              <a:ext cx="186985" cy="99725"/>
            </a:xfrm>
            <a:custGeom>
              <a:avLst/>
              <a:gdLst>
                <a:gd name="connsiteX0" fmla="*/ 18075 w 186985"/>
                <a:gd name="connsiteY0" fmla="*/ 80648 h 99725"/>
                <a:gd name="connsiteX1" fmla="*/ 31787 w 186985"/>
                <a:gd name="connsiteY1" fmla="*/ 75662 h 99725"/>
                <a:gd name="connsiteX2" fmla="*/ 45500 w 186985"/>
                <a:gd name="connsiteY2" fmla="*/ 83141 h 99725"/>
                <a:gd name="connsiteX3" fmla="*/ 183869 w 186985"/>
                <a:gd name="connsiteY3" fmla="*/ 78155 h 99725"/>
                <a:gd name="connsiteX4" fmla="*/ 69184 w 186985"/>
                <a:gd name="connsiteY4" fmla="*/ 38265 h 99725"/>
                <a:gd name="connsiteX5" fmla="*/ 104088 w 186985"/>
                <a:gd name="connsiteY5" fmla="*/ 15827 h 99725"/>
                <a:gd name="connsiteX6" fmla="*/ 105335 w 186985"/>
                <a:gd name="connsiteY6" fmla="*/ 10840 h 99725"/>
                <a:gd name="connsiteX7" fmla="*/ 101595 w 186985"/>
                <a:gd name="connsiteY7" fmla="*/ 9594 h 99725"/>
                <a:gd name="connsiteX8" fmla="*/ 72924 w 186985"/>
                <a:gd name="connsiteY8" fmla="*/ 15827 h 99725"/>
                <a:gd name="connsiteX9" fmla="*/ 16828 w 186985"/>
                <a:gd name="connsiteY9" fmla="*/ 39511 h 99725"/>
                <a:gd name="connsiteX10" fmla="*/ 10596 w 186985"/>
                <a:gd name="connsiteY10" fmla="*/ 43251 h 99725"/>
                <a:gd name="connsiteX11" fmla="*/ 9349 w 186985"/>
                <a:gd name="connsiteY11" fmla="*/ 51977 h 99725"/>
                <a:gd name="connsiteX12" fmla="*/ 11842 w 186985"/>
                <a:gd name="connsiteY12" fmla="*/ 76908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985" h="99725">
                  <a:moveTo>
                    <a:pt x="18075" y="80648"/>
                  </a:moveTo>
                  <a:cubicBezTo>
                    <a:pt x="20568" y="75662"/>
                    <a:pt x="26801" y="74415"/>
                    <a:pt x="31787" y="75662"/>
                  </a:cubicBezTo>
                  <a:cubicBezTo>
                    <a:pt x="36774" y="76908"/>
                    <a:pt x="40513" y="79401"/>
                    <a:pt x="45500" y="83141"/>
                  </a:cubicBezTo>
                  <a:cubicBezTo>
                    <a:pt x="86636" y="110566"/>
                    <a:pt x="145225" y="108073"/>
                    <a:pt x="183869" y="78155"/>
                  </a:cubicBezTo>
                  <a:cubicBezTo>
                    <a:pt x="146472" y="63196"/>
                    <a:pt x="107828" y="49484"/>
                    <a:pt x="69184" y="38265"/>
                  </a:cubicBezTo>
                  <a:cubicBezTo>
                    <a:pt x="82897" y="35771"/>
                    <a:pt x="96609" y="28292"/>
                    <a:pt x="104088" y="15827"/>
                  </a:cubicBezTo>
                  <a:cubicBezTo>
                    <a:pt x="105335" y="14580"/>
                    <a:pt x="106581" y="12087"/>
                    <a:pt x="105335" y="10840"/>
                  </a:cubicBezTo>
                  <a:cubicBezTo>
                    <a:pt x="104088" y="9594"/>
                    <a:pt x="102842" y="9594"/>
                    <a:pt x="101595" y="9594"/>
                  </a:cubicBezTo>
                  <a:cubicBezTo>
                    <a:pt x="91622" y="8347"/>
                    <a:pt x="81650" y="12087"/>
                    <a:pt x="72924" y="15827"/>
                  </a:cubicBezTo>
                  <a:cubicBezTo>
                    <a:pt x="54225" y="23306"/>
                    <a:pt x="35527" y="32032"/>
                    <a:pt x="16828" y="39511"/>
                  </a:cubicBezTo>
                  <a:cubicBezTo>
                    <a:pt x="14335" y="40758"/>
                    <a:pt x="11842" y="42004"/>
                    <a:pt x="10596" y="43251"/>
                  </a:cubicBezTo>
                  <a:cubicBezTo>
                    <a:pt x="9349" y="45744"/>
                    <a:pt x="9349" y="48237"/>
                    <a:pt x="9349" y="51977"/>
                  </a:cubicBezTo>
                  <a:cubicBezTo>
                    <a:pt x="10596" y="60703"/>
                    <a:pt x="11842" y="69429"/>
                    <a:pt x="11842" y="76908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824B7B61-EDE8-46E6-AEF7-163B50EF9129}"/>
                </a:ext>
              </a:extLst>
            </p:cNvPr>
            <p:cNvSpPr/>
            <p:nvPr/>
          </p:nvSpPr>
          <p:spPr>
            <a:xfrm>
              <a:off x="6288048" y="5181989"/>
              <a:ext cx="74794" cy="87260"/>
            </a:xfrm>
            <a:custGeom>
              <a:avLst/>
              <a:gdLst>
                <a:gd name="connsiteX0" fmla="*/ 21815 w 74794"/>
                <a:gd name="connsiteY0" fmla="*/ 13089 h 87259"/>
                <a:gd name="connsiteX1" fmla="*/ 9349 w 74794"/>
                <a:gd name="connsiteY1" fmla="*/ 86637 h 87259"/>
                <a:gd name="connsiteX2" fmla="*/ 47993 w 74794"/>
                <a:gd name="connsiteY2" fmla="*/ 84143 h 87259"/>
                <a:gd name="connsiteX3" fmla="*/ 65445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21815" y="13089"/>
                  </a:moveTo>
                  <a:lnTo>
                    <a:pt x="9349" y="86637"/>
                  </a:lnTo>
                  <a:lnTo>
                    <a:pt x="47993" y="84143"/>
                  </a:lnTo>
                  <a:lnTo>
                    <a:pt x="6544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F81063D-87E5-4B21-9F39-8E4D78822837}"/>
                </a:ext>
              </a:extLst>
            </p:cNvPr>
            <p:cNvSpPr/>
            <p:nvPr/>
          </p:nvSpPr>
          <p:spPr>
            <a:xfrm>
              <a:off x="6594704" y="5158304"/>
              <a:ext cx="62328" cy="99725"/>
            </a:xfrm>
            <a:custGeom>
              <a:avLst/>
              <a:gdLst>
                <a:gd name="connsiteX0" fmla="*/ 14335 w 62328"/>
                <a:gd name="connsiteY0" fmla="*/ 16829 h 99725"/>
                <a:gd name="connsiteX1" fmla="*/ 9349 w 62328"/>
                <a:gd name="connsiteY1" fmla="*/ 91623 h 99725"/>
                <a:gd name="connsiteX2" fmla="*/ 46746 w 62328"/>
                <a:gd name="connsiteY2" fmla="*/ 84143 h 99725"/>
                <a:gd name="connsiteX3" fmla="*/ 57965 w 62328"/>
                <a:gd name="connsiteY3" fmla="*/ 934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328" h="99725">
                  <a:moveTo>
                    <a:pt x="14335" y="16829"/>
                  </a:moveTo>
                  <a:lnTo>
                    <a:pt x="9349" y="91623"/>
                  </a:lnTo>
                  <a:lnTo>
                    <a:pt x="46746" y="84143"/>
                  </a:lnTo>
                  <a:lnTo>
                    <a:pt x="5796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2C3F78DA-2E31-45FF-BECE-925B5F740541}"/>
                </a:ext>
              </a:extLst>
            </p:cNvPr>
            <p:cNvSpPr/>
            <p:nvPr/>
          </p:nvSpPr>
          <p:spPr>
            <a:xfrm>
              <a:off x="6213254" y="3102713"/>
              <a:ext cx="211917" cy="336573"/>
            </a:xfrm>
            <a:custGeom>
              <a:avLst/>
              <a:gdLst>
                <a:gd name="connsiteX0" fmla="*/ 158937 w 211916"/>
                <a:gd name="connsiteY0" fmla="*/ 9349 h 336573"/>
                <a:gd name="connsiteX1" fmla="*/ 208800 w 211916"/>
                <a:gd name="connsiteY1" fmla="*/ 142732 h 336573"/>
                <a:gd name="connsiteX2" fmla="*/ 175143 w 211916"/>
                <a:gd name="connsiteY2" fmla="*/ 216280 h 336573"/>
                <a:gd name="connsiteX3" fmla="*/ 157691 w 211916"/>
                <a:gd name="connsiteY3" fmla="*/ 222513 h 336573"/>
                <a:gd name="connsiteX4" fmla="*/ 165170 w 211916"/>
                <a:gd name="connsiteY4" fmla="*/ 319745 h 336573"/>
                <a:gd name="connsiteX5" fmla="*/ 29294 w 211916"/>
                <a:gd name="connsiteY5" fmla="*/ 329717 h 336573"/>
                <a:gd name="connsiteX6" fmla="*/ 9349 w 211916"/>
                <a:gd name="connsiteY6" fmla="*/ 54226 h 336573"/>
                <a:gd name="connsiteX7" fmla="*/ 158937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58937" y="9349"/>
                  </a:moveTo>
                  <a:lnTo>
                    <a:pt x="208800" y="142732"/>
                  </a:lnTo>
                  <a:cubicBezTo>
                    <a:pt x="220019" y="172650"/>
                    <a:pt x="205061" y="205061"/>
                    <a:pt x="175143" y="216280"/>
                  </a:cubicBezTo>
                  <a:lnTo>
                    <a:pt x="157691" y="222513"/>
                  </a:lnTo>
                  <a:lnTo>
                    <a:pt x="165170" y="319745"/>
                  </a:lnTo>
                  <a:lnTo>
                    <a:pt x="29294" y="329717"/>
                  </a:lnTo>
                  <a:lnTo>
                    <a:pt x="9349" y="54226"/>
                  </a:lnTo>
                  <a:lnTo>
                    <a:pt x="158937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F221915D-50FC-44AE-B5AF-F4E65E1E1963}"/>
                </a:ext>
              </a:extLst>
            </p:cNvPr>
            <p:cNvSpPr/>
            <p:nvPr/>
          </p:nvSpPr>
          <p:spPr>
            <a:xfrm>
              <a:off x="6147668" y="3019592"/>
              <a:ext cx="249314" cy="324108"/>
            </a:xfrm>
            <a:custGeom>
              <a:avLst/>
              <a:gdLst>
                <a:gd name="connsiteX0" fmla="*/ 219537 w 249313"/>
                <a:gd name="connsiteY0" fmla="*/ 12690 h 324107"/>
                <a:gd name="connsiteX1" fmla="*/ 158455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3195 h 324107"/>
                <a:gd name="connsiteX4" fmla="*/ 74935 w 249313"/>
                <a:gd name="connsiteY4" fmla="*/ 321839 h 324107"/>
                <a:gd name="connsiteX5" fmla="*/ 144743 w 249313"/>
                <a:gd name="connsiteY5" fmla="*/ 316852 h 324107"/>
                <a:gd name="connsiteX6" fmla="*/ 162195 w 249313"/>
                <a:gd name="connsiteY6" fmla="*/ 230839 h 324107"/>
                <a:gd name="connsiteX7" fmla="*/ 108593 w 249313"/>
                <a:gd name="connsiteY7" fmla="*/ 178483 h 324107"/>
                <a:gd name="connsiteX8" fmla="*/ 169674 w 249313"/>
                <a:gd name="connsiteY8" fmla="*/ 195935 h 324107"/>
                <a:gd name="connsiteX9" fmla="*/ 189620 w 249313"/>
                <a:gd name="connsiteY9" fmla="*/ 193442 h 324107"/>
                <a:gd name="connsiteX10" fmla="*/ 165935 w 249313"/>
                <a:gd name="connsiteY10" fmla="*/ 116155 h 324107"/>
                <a:gd name="connsiteX11" fmla="*/ 243222 w 249313"/>
                <a:gd name="connsiteY11" fmla="*/ 60059 h 324107"/>
                <a:gd name="connsiteX12" fmla="*/ 219537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19537" y="12690"/>
                  </a:moveTo>
                  <a:cubicBezTo>
                    <a:pt x="219537" y="12690"/>
                    <a:pt x="192112" y="-4762"/>
                    <a:pt x="158455" y="40114"/>
                  </a:cubicBezTo>
                  <a:cubicBezTo>
                    <a:pt x="124798" y="84991"/>
                    <a:pt x="46264" y="55073"/>
                    <a:pt x="21333" y="111169"/>
                  </a:cubicBezTo>
                  <a:cubicBezTo>
                    <a:pt x="-4845" y="167264"/>
                    <a:pt x="15100" y="233332"/>
                    <a:pt x="50004" y="283195"/>
                  </a:cubicBezTo>
                  <a:lnTo>
                    <a:pt x="74935" y="321839"/>
                  </a:lnTo>
                  <a:lnTo>
                    <a:pt x="144743" y="316852"/>
                  </a:lnTo>
                  <a:cubicBezTo>
                    <a:pt x="144743" y="316852"/>
                    <a:pt x="174661" y="249538"/>
                    <a:pt x="162195" y="230839"/>
                  </a:cubicBezTo>
                  <a:cubicBezTo>
                    <a:pt x="162195" y="230839"/>
                    <a:pt x="84908" y="219620"/>
                    <a:pt x="108593" y="178483"/>
                  </a:cubicBezTo>
                  <a:cubicBezTo>
                    <a:pt x="132277" y="137347"/>
                    <a:pt x="169674" y="195935"/>
                    <a:pt x="169674" y="195935"/>
                  </a:cubicBezTo>
                  <a:lnTo>
                    <a:pt x="189620" y="193442"/>
                  </a:lnTo>
                  <a:lnTo>
                    <a:pt x="165935" y="116155"/>
                  </a:lnTo>
                  <a:cubicBezTo>
                    <a:pt x="165935" y="116155"/>
                    <a:pt x="234496" y="102443"/>
                    <a:pt x="243222" y="60059"/>
                  </a:cubicBezTo>
                  <a:cubicBezTo>
                    <a:pt x="249455" y="16429"/>
                    <a:pt x="219537" y="12690"/>
                    <a:pt x="219537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A90AF43B-3C5A-4B44-832E-A4CFD21B8FB7}"/>
                </a:ext>
              </a:extLst>
            </p:cNvPr>
            <p:cNvSpPr/>
            <p:nvPr/>
          </p:nvSpPr>
          <p:spPr>
            <a:xfrm>
              <a:off x="6119761" y="3960352"/>
              <a:ext cx="598353" cy="1259034"/>
            </a:xfrm>
            <a:custGeom>
              <a:avLst/>
              <a:gdLst>
                <a:gd name="connsiteX0" fmla="*/ 9349 w 598352"/>
                <a:gd name="connsiteY0" fmla="*/ 203814 h 1259033"/>
                <a:gd name="connsiteX1" fmla="*/ 185115 w 598352"/>
                <a:gd name="connsiteY1" fmla="*/ 616428 h 1259033"/>
                <a:gd name="connsiteX2" fmla="*/ 203814 w 598352"/>
                <a:gd name="connsiteY2" fmla="*/ 737345 h 1259033"/>
                <a:gd name="connsiteX3" fmla="*/ 158937 w 598352"/>
                <a:gd name="connsiteY3" fmla="*/ 1255918 h 1259033"/>
                <a:gd name="connsiteX4" fmla="*/ 252430 w 598352"/>
                <a:gd name="connsiteY4" fmla="*/ 1249685 h 1259033"/>
                <a:gd name="connsiteX5" fmla="*/ 380827 w 598352"/>
                <a:gd name="connsiteY5" fmla="*/ 666291 h 1259033"/>
                <a:gd name="connsiteX6" fmla="*/ 314759 w 598352"/>
                <a:gd name="connsiteY6" fmla="*/ 368361 h 1259033"/>
                <a:gd name="connsiteX7" fmla="*/ 426950 w 598352"/>
                <a:gd name="connsiteY7" fmla="*/ 652579 h 1259033"/>
                <a:gd name="connsiteX8" fmla="*/ 466840 w 598352"/>
                <a:gd name="connsiteY8" fmla="*/ 1234726 h 1259033"/>
                <a:gd name="connsiteX9" fmla="*/ 541634 w 598352"/>
                <a:gd name="connsiteY9" fmla="*/ 1229740 h 1259033"/>
                <a:gd name="connsiteX10" fmla="*/ 546620 w 598352"/>
                <a:gd name="connsiteY10" fmla="*/ 418224 h 1259033"/>
                <a:gd name="connsiteX11" fmla="*/ 389553 w 598352"/>
                <a:gd name="connsiteY11" fmla="*/ 9349 h 1259033"/>
                <a:gd name="connsiteX12" fmla="*/ 9349 w 598352"/>
                <a:gd name="connsiteY12" fmla="*/ 203814 h 12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8352" h="1259033">
                  <a:moveTo>
                    <a:pt x="9349" y="203814"/>
                  </a:moveTo>
                  <a:lnTo>
                    <a:pt x="185115" y="616428"/>
                  </a:lnTo>
                  <a:cubicBezTo>
                    <a:pt x="201321" y="653825"/>
                    <a:pt x="207554" y="696208"/>
                    <a:pt x="203814" y="737345"/>
                  </a:cubicBezTo>
                  <a:lnTo>
                    <a:pt x="158937" y="1255918"/>
                  </a:lnTo>
                  <a:lnTo>
                    <a:pt x="252430" y="1249685"/>
                  </a:lnTo>
                  <a:cubicBezTo>
                    <a:pt x="252430" y="1249685"/>
                    <a:pt x="379580" y="784715"/>
                    <a:pt x="380827" y="666291"/>
                  </a:cubicBezTo>
                  <a:cubicBezTo>
                    <a:pt x="380827" y="610195"/>
                    <a:pt x="314759" y="368361"/>
                    <a:pt x="314759" y="368361"/>
                  </a:cubicBezTo>
                  <a:cubicBezTo>
                    <a:pt x="314759" y="368361"/>
                    <a:pt x="425703" y="551606"/>
                    <a:pt x="426950" y="652579"/>
                  </a:cubicBezTo>
                  <a:cubicBezTo>
                    <a:pt x="428196" y="753551"/>
                    <a:pt x="466840" y="1234726"/>
                    <a:pt x="466840" y="1234726"/>
                  </a:cubicBezTo>
                  <a:lnTo>
                    <a:pt x="541634" y="1229740"/>
                  </a:lnTo>
                  <a:cubicBezTo>
                    <a:pt x="541634" y="1229740"/>
                    <a:pt x="665044" y="709921"/>
                    <a:pt x="546620" y="418224"/>
                  </a:cubicBezTo>
                  <a:cubicBezTo>
                    <a:pt x="443155" y="162677"/>
                    <a:pt x="389553" y="9349"/>
                    <a:pt x="389553" y="9349"/>
                  </a:cubicBezTo>
                  <a:lnTo>
                    <a:pt x="9349" y="203814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7B6374D3-DBE7-4238-B0A7-7C6586411E37}"/>
                </a:ext>
              </a:extLst>
            </p:cNvPr>
            <p:cNvSpPr/>
            <p:nvPr/>
          </p:nvSpPr>
          <p:spPr>
            <a:xfrm>
              <a:off x="6022018" y="3365739"/>
              <a:ext cx="498627" cy="797804"/>
            </a:xfrm>
            <a:custGeom>
              <a:avLst/>
              <a:gdLst>
                <a:gd name="connsiteX0" fmla="*/ 210558 w 498627"/>
                <a:gd name="connsiteY0" fmla="*/ 9349 h 797803"/>
                <a:gd name="connsiteX1" fmla="*/ 9860 w 498627"/>
                <a:gd name="connsiteY1" fmla="*/ 296060 h 797803"/>
                <a:gd name="connsiteX2" fmla="*/ 107092 w 498627"/>
                <a:gd name="connsiteY2" fmla="*/ 799673 h 797803"/>
                <a:gd name="connsiteX3" fmla="*/ 493528 w 498627"/>
                <a:gd name="connsiteY3" fmla="*/ 650085 h 797803"/>
                <a:gd name="connsiteX4" fmla="*/ 482309 w 498627"/>
                <a:gd name="connsiteY4" fmla="*/ 527922 h 797803"/>
                <a:gd name="connsiteX5" fmla="*/ 413748 w 498627"/>
                <a:gd name="connsiteY5" fmla="*/ 109075 h 797803"/>
                <a:gd name="connsiteX6" fmla="*/ 373858 w 498627"/>
                <a:gd name="connsiteY6" fmla="*/ 62952 h 797803"/>
                <a:gd name="connsiteX7" fmla="*/ 210558 w 498627"/>
                <a:gd name="connsiteY7" fmla="*/ 9349 h 7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627" h="797803">
                  <a:moveTo>
                    <a:pt x="210558" y="9349"/>
                  </a:moveTo>
                  <a:cubicBezTo>
                    <a:pt x="210558" y="9349"/>
                    <a:pt x="19832" y="74171"/>
                    <a:pt x="9860" y="296060"/>
                  </a:cubicBezTo>
                  <a:cubicBezTo>
                    <a:pt x="1134" y="517949"/>
                    <a:pt x="107092" y="799673"/>
                    <a:pt x="107092" y="799673"/>
                  </a:cubicBezTo>
                  <a:lnTo>
                    <a:pt x="493528" y="650085"/>
                  </a:lnTo>
                  <a:lnTo>
                    <a:pt x="482309" y="527922"/>
                  </a:lnTo>
                  <a:lnTo>
                    <a:pt x="413748" y="109075"/>
                  </a:lnTo>
                  <a:cubicBezTo>
                    <a:pt x="410009" y="87883"/>
                    <a:pt x="395050" y="70431"/>
                    <a:pt x="373858" y="62952"/>
                  </a:cubicBezTo>
                  <a:lnTo>
                    <a:pt x="210558" y="9349"/>
                  </a:lnTo>
                  <a:close/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31D4AEE2-EE6A-413B-A71A-0EC2FDBBC2F0}"/>
                </a:ext>
              </a:extLst>
            </p:cNvPr>
            <p:cNvSpPr/>
            <p:nvPr/>
          </p:nvSpPr>
          <p:spPr>
            <a:xfrm>
              <a:off x="6374061" y="3444273"/>
              <a:ext cx="99725" cy="560956"/>
            </a:xfrm>
            <a:custGeom>
              <a:avLst/>
              <a:gdLst>
                <a:gd name="connsiteX0" fmla="*/ 92869 w 99725"/>
                <a:gd name="connsiteY0" fmla="*/ 556593 h 560955"/>
                <a:gd name="connsiteX1" fmla="*/ 91623 w 99725"/>
                <a:gd name="connsiteY1" fmla="*/ 551606 h 560955"/>
                <a:gd name="connsiteX2" fmla="*/ 89130 w 99725"/>
                <a:gd name="connsiteY2" fmla="*/ 535401 h 560955"/>
                <a:gd name="connsiteX3" fmla="*/ 79157 w 99725"/>
                <a:gd name="connsiteY3" fmla="*/ 476812 h 560955"/>
                <a:gd name="connsiteX4" fmla="*/ 49240 w 99725"/>
                <a:gd name="connsiteY4" fmla="*/ 283594 h 560955"/>
                <a:gd name="connsiteX5" fmla="*/ 20569 w 99725"/>
                <a:gd name="connsiteY5" fmla="*/ 90376 h 560955"/>
                <a:gd name="connsiteX6" fmla="*/ 11843 w 99725"/>
                <a:gd name="connsiteY6" fmla="*/ 31788 h 560955"/>
                <a:gd name="connsiteX7" fmla="*/ 9349 w 99725"/>
                <a:gd name="connsiteY7" fmla="*/ 15582 h 560955"/>
                <a:gd name="connsiteX8" fmla="*/ 9349 w 99725"/>
                <a:gd name="connsiteY8" fmla="*/ 9349 h 560955"/>
                <a:gd name="connsiteX9" fmla="*/ 10596 w 99725"/>
                <a:gd name="connsiteY9" fmla="*/ 14335 h 560955"/>
                <a:gd name="connsiteX10" fmla="*/ 13089 w 99725"/>
                <a:gd name="connsiteY10" fmla="*/ 30541 h 560955"/>
                <a:gd name="connsiteX11" fmla="*/ 23062 w 99725"/>
                <a:gd name="connsiteY11" fmla="*/ 89130 h 560955"/>
                <a:gd name="connsiteX12" fmla="*/ 52979 w 99725"/>
                <a:gd name="connsiteY12" fmla="*/ 282348 h 560955"/>
                <a:gd name="connsiteX13" fmla="*/ 81650 w 99725"/>
                <a:gd name="connsiteY13" fmla="*/ 475566 h 560955"/>
                <a:gd name="connsiteX14" fmla="*/ 90376 w 99725"/>
                <a:gd name="connsiteY14" fmla="*/ 534155 h 560955"/>
                <a:gd name="connsiteX15" fmla="*/ 92869 w 99725"/>
                <a:gd name="connsiteY15" fmla="*/ 550360 h 560955"/>
                <a:gd name="connsiteX16" fmla="*/ 92869 w 99725"/>
                <a:gd name="connsiteY16" fmla="*/ 556593 h 56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725" h="560955">
                  <a:moveTo>
                    <a:pt x="92869" y="556593"/>
                  </a:moveTo>
                  <a:cubicBezTo>
                    <a:pt x="92869" y="556593"/>
                    <a:pt x="91623" y="555346"/>
                    <a:pt x="91623" y="551606"/>
                  </a:cubicBezTo>
                  <a:cubicBezTo>
                    <a:pt x="90376" y="546620"/>
                    <a:pt x="90376" y="541634"/>
                    <a:pt x="89130" y="535401"/>
                  </a:cubicBezTo>
                  <a:cubicBezTo>
                    <a:pt x="86637" y="519196"/>
                    <a:pt x="82897" y="499251"/>
                    <a:pt x="79157" y="476812"/>
                  </a:cubicBezTo>
                  <a:cubicBezTo>
                    <a:pt x="70431" y="423210"/>
                    <a:pt x="60459" y="357142"/>
                    <a:pt x="49240" y="283594"/>
                  </a:cubicBezTo>
                  <a:cubicBezTo>
                    <a:pt x="38021" y="210047"/>
                    <a:pt x="28048" y="143979"/>
                    <a:pt x="20569" y="90376"/>
                  </a:cubicBezTo>
                  <a:cubicBezTo>
                    <a:pt x="16829" y="67938"/>
                    <a:pt x="14336" y="47993"/>
                    <a:pt x="11843" y="31788"/>
                  </a:cubicBezTo>
                  <a:cubicBezTo>
                    <a:pt x="10596" y="25555"/>
                    <a:pt x="10596" y="20568"/>
                    <a:pt x="9349" y="15582"/>
                  </a:cubicBezTo>
                  <a:cubicBezTo>
                    <a:pt x="9349" y="11843"/>
                    <a:pt x="9349" y="10596"/>
                    <a:pt x="9349" y="9349"/>
                  </a:cubicBezTo>
                  <a:cubicBezTo>
                    <a:pt x="9349" y="9349"/>
                    <a:pt x="10596" y="10596"/>
                    <a:pt x="10596" y="14335"/>
                  </a:cubicBezTo>
                  <a:cubicBezTo>
                    <a:pt x="11843" y="19322"/>
                    <a:pt x="11843" y="24308"/>
                    <a:pt x="13089" y="30541"/>
                  </a:cubicBezTo>
                  <a:cubicBezTo>
                    <a:pt x="15582" y="46746"/>
                    <a:pt x="19322" y="66691"/>
                    <a:pt x="23062" y="89130"/>
                  </a:cubicBezTo>
                  <a:cubicBezTo>
                    <a:pt x="31788" y="142732"/>
                    <a:pt x="41760" y="208800"/>
                    <a:pt x="52979" y="282348"/>
                  </a:cubicBezTo>
                  <a:cubicBezTo>
                    <a:pt x="64199" y="355895"/>
                    <a:pt x="74171" y="421963"/>
                    <a:pt x="81650" y="475566"/>
                  </a:cubicBezTo>
                  <a:cubicBezTo>
                    <a:pt x="85390" y="498004"/>
                    <a:pt x="87883" y="517949"/>
                    <a:pt x="90376" y="534155"/>
                  </a:cubicBezTo>
                  <a:cubicBezTo>
                    <a:pt x="91623" y="540387"/>
                    <a:pt x="91623" y="545374"/>
                    <a:pt x="92869" y="550360"/>
                  </a:cubicBezTo>
                  <a:cubicBezTo>
                    <a:pt x="92869" y="554100"/>
                    <a:pt x="92869" y="556593"/>
                    <a:pt x="92869" y="556593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A2A8BB02-8147-4B04-8ACE-7435D6756372}"/>
                </a:ext>
              </a:extLst>
            </p:cNvPr>
            <p:cNvSpPr/>
            <p:nvPr/>
          </p:nvSpPr>
          <p:spPr>
            <a:xfrm>
              <a:off x="6189569" y="3365739"/>
              <a:ext cx="186985" cy="87260"/>
            </a:xfrm>
            <a:custGeom>
              <a:avLst/>
              <a:gdLst>
                <a:gd name="connsiteX0" fmla="*/ 43007 w 186985"/>
                <a:gd name="connsiteY0" fmla="*/ 9349 h 87259"/>
                <a:gd name="connsiteX1" fmla="*/ 188855 w 186985"/>
                <a:gd name="connsiteY1" fmla="*/ 49239 h 87259"/>
                <a:gd name="connsiteX2" fmla="*/ 183869 w 186985"/>
                <a:gd name="connsiteY2" fmla="*/ 89130 h 87259"/>
                <a:gd name="connsiteX3" fmla="*/ 9349 w 186985"/>
                <a:gd name="connsiteY3" fmla="*/ 24308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985" h="87259">
                  <a:moveTo>
                    <a:pt x="43007" y="9349"/>
                  </a:moveTo>
                  <a:lnTo>
                    <a:pt x="188855" y="49239"/>
                  </a:lnTo>
                  <a:lnTo>
                    <a:pt x="183869" y="89130"/>
                  </a:lnTo>
                  <a:lnTo>
                    <a:pt x="9349" y="24308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935D7B2-218F-4C6B-B460-466DF31F8991}"/>
                </a:ext>
              </a:extLst>
            </p:cNvPr>
            <p:cNvSpPr/>
            <p:nvPr/>
          </p:nvSpPr>
          <p:spPr>
            <a:xfrm>
              <a:off x="6366582" y="3380698"/>
              <a:ext cx="37397" cy="74794"/>
            </a:xfrm>
            <a:custGeom>
              <a:avLst/>
              <a:gdLst>
                <a:gd name="connsiteX0" fmla="*/ 10596 w 37397"/>
                <a:gd name="connsiteY0" fmla="*/ 33034 h 74794"/>
                <a:gd name="connsiteX1" fmla="*/ 38020 w 37397"/>
                <a:gd name="connsiteY1" fmla="*/ 71678 h 74794"/>
                <a:gd name="connsiteX2" fmla="*/ 36774 w 37397"/>
                <a:gd name="connsiteY2" fmla="*/ 40513 h 74794"/>
                <a:gd name="connsiteX3" fmla="*/ 9349 w 37397"/>
                <a:gd name="connsiteY3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" h="74794">
                  <a:moveTo>
                    <a:pt x="10596" y="33034"/>
                  </a:moveTo>
                  <a:lnTo>
                    <a:pt x="38020" y="71678"/>
                  </a:lnTo>
                  <a:lnTo>
                    <a:pt x="36774" y="40513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9A5DAA27-B7E5-4335-81DB-FB8E78DBE0F3}"/>
                </a:ext>
              </a:extLst>
            </p:cNvPr>
            <p:cNvSpPr/>
            <p:nvPr/>
          </p:nvSpPr>
          <p:spPr>
            <a:xfrm>
              <a:off x="6364088" y="3406876"/>
              <a:ext cx="37397" cy="87260"/>
            </a:xfrm>
            <a:custGeom>
              <a:avLst/>
              <a:gdLst>
                <a:gd name="connsiteX0" fmla="*/ 14335 w 37397"/>
                <a:gd name="connsiteY0" fmla="*/ 9349 h 87259"/>
                <a:gd name="connsiteX1" fmla="*/ 9349 w 37397"/>
                <a:gd name="connsiteY1" fmla="*/ 47993 h 87259"/>
                <a:gd name="connsiteX2" fmla="*/ 35527 w 37397"/>
                <a:gd name="connsiteY2" fmla="*/ 82897 h 87259"/>
                <a:gd name="connsiteX3" fmla="*/ 39267 w 37397"/>
                <a:gd name="connsiteY3" fmla="*/ 43007 h 87259"/>
                <a:gd name="connsiteX4" fmla="*/ 16829 w 37397"/>
                <a:gd name="connsiteY4" fmla="*/ 11843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87259">
                  <a:moveTo>
                    <a:pt x="14335" y="9349"/>
                  </a:moveTo>
                  <a:lnTo>
                    <a:pt x="9349" y="47993"/>
                  </a:lnTo>
                  <a:lnTo>
                    <a:pt x="35527" y="82897"/>
                  </a:lnTo>
                  <a:lnTo>
                    <a:pt x="39267" y="43007"/>
                  </a:lnTo>
                  <a:lnTo>
                    <a:pt x="16829" y="11843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0256680-65F1-4EE1-9435-3CD4CCBF5DE6}"/>
                </a:ext>
              </a:extLst>
            </p:cNvPr>
            <p:cNvSpPr/>
            <p:nvPr/>
          </p:nvSpPr>
          <p:spPr>
            <a:xfrm>
              <a:off x="6116021" y="3460478"/>
              <a:ext cx="361505" cy="486162"/>
            </a:xfrm>
            <a:custGeom>
              <a:avLst/>
              <a:gdLst>
                <a:gd name="connsiteX0" fmla="*/ 279854 w 361504"/>
                <a:gd name="connsiteY0" fmla="*/ 24308 h 486161"/>
                <a:gd name="connsiteX1" fmla="*/ 205060 w 361504"/>
                <a:gd name="connsiteY1" fmla="*/ 335950 h 486161"/>
                <a:gd name="connsiteX2" fmla="*/ 47993 w 361504"/>
                <a:gd name="connsiteY2" fmla="*/ 393292 h 486161"/>
                <a:gd name="connsiteX3" fmla="*/ 9349 w 361504"/>
                <a:gd name="connsiteY3" fmla="*/ 466840 h 486161"/>
                <a:gd name="connsiteX4" fmla="*/ 101595 w 361504"/>
                <a:gd name="connsiteY4" fmla="*/ 480552 h 486161"/>
                <a:gd name="connsiteX5" fmla="*/ 357142 w 361504"/>
                <a:gd name="connsiteY5" fmla="*/ 246197 h 486161"/>
                <a:gd name="connsiteX6" fmla="*/ 284841 w 361504"/>
                <a:gd name="connsiteY6" fmla="*/ 9349 h 486161"/>
                <a:gd name="connsiteX7" fmla="*/ 279854 w 361504"/>
                <a:gd name="connsiteY7" fmla="*/ 24308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1504" h="486161">
                  <a:moveTo>
                    <a:pt x="279854" y="24308"/>
                  </a:moveTo>
                  <a:cubicBezTo>
                    <a:pt x="279854" y="24308"/>
                    <a:pt x="319745" y="287334"/>
                    <a:pt x="205060" y="335950"/>
                  </a:cubicBezTo>
                  <a:cubicBezTo>
                    <a:pt x="90376" y="384566"/>
                    <a:pt x="47993" y="393292"/>
                    <a:pt x="47993" y="393292"/>
                  </a:cubicBezTo>
                  <a:lnTo>
                    <a:pt x="9349" y="466840"/>
                  </a:lnTo>
                  <a:lnTo>
                    <a:pt x="101595" y="480552"/>
                  </a:lnTo>
                  <a:cubicBezTo>
                    <a:pt x="101595" y="480552"/>
                    <a:pt x="369607" y="416977"/>
                    <a:pt x="357142" y="246197"/>
                  </a:cubicBezTo>
                  <a:cubicBezTo>
                    <a:pt x="344676" y="76664"/>
                    <a:pt x="284841" y="9349"/>
                    <a:pt x="284841" y="9349"/>
                  </a:cubicBezTo>
                  <a:lnTo>
                    <a:pt x="279854" y="24308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ADF507EE-C2E0-46F1-A16C-C4269FFDF6B8}"/>
                </a:ext>
              </a:extLst>
            </p:cNvPr>
            <p:cNvSpPr/>
            <p:nvPr/>
          </p:nvSpPr>
          <p:spPr>
            <a:xfrm>
              <a:off x="6132227" y="3441780"/>
              <a:ext cx="710544" cy="349039"/>
            </a:xfrm>
            <a:custGeom>
              <a:avLst/>
              <a:gdLst>
                <a:gd name="connsiteX0" fmla="*/ 9349 w 710543"/>
                <a:gd name="connsiteY0" fmla="*/ 178882 h 349039"/>
                <a:gd name="connsiteX1" fmla="*/ 363375 w 710543"/>
                <a:gd name="connsiteY1" fmla="*/ 347169 h 349039"/>
                <a:gd name="connsiteX2" fmla="*/ 708674 w 710543"/>
                <a:gd name="connsiteY2" fmla="*/ 322238 h 349039"/>
                <a:gd name="connsiteX3" fmla="*/ 701195 w 710543"/>
                <a:gd name="connsiteY3" fmla="*/ 225005 h 349039"/>
                <a:gd name="connsiteX4" fmla="*/ 418224 w 710543"/>
                <a:gd name="connsiteY4" fmla="*/ 222512 h 349039"/>
                <a:gd name="connsiteX5" fmla="*/ 91623 w 710543"/>
                <a:gd name="connsiteY5" fmla="*/ 9349 h 34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543" h="349039">
                  <a:moveTo>
                    <a:pt x="9349" y="178882"/>
                  </a:moveTo>
                  <a:lnTo>
                    <a:pt x="363375" y="347169"/>
                  </a:lnTo>
                  <a:lnTo>
                    <a:pt x="708674" y="322238"/>
                  </a:lnTo>
                  <a:lnTo>
                    <a:pt x="701195" y="225005"/>
                  </a:lnTo>
                  <a:lnTo>
                    <a:pt x="418224" y="222512"/>
                  </a:lnTo>
                  <a:lnTo>
                    <a:pt x="91623" y="9349"/>
                  </a:lnTo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EB0F21FA-DB86-4127-9767-D52CA33CAA55}"/>
                </a:ext>
              </a:extLst>
            </p:cNvPr>
            <p:cNvSpPr/>
            <p:nvPr/>
          </p:nvSpPr>
          <p:spPr>
            <a:xfrm>
              <a:off x="6133473" y="3626272"/>
              <a:ext cx="361505" cy="162054"/>
            </a:xfrm>
            <a:custGeom>
              <a:avLst/>
              <a:gdLst>
                <a:gd name="connsiteX0" fmla="*/ 9349 w 361504"/>
                <a:gd name="connsiteY0" fmla="*/ 9349 h 162053"/>
                <a:gd name="connsiteX1" fmla="*/ 23062 w 361504"/>
                <a:gd name="connsiteY1" fmla="*/ 15582 h 162053"/>
                <a:gd name="connsiteX2" fmla="*/ 60459 w 361504"/>
                <a:gd name="connsiteY2" fmla="*/ 33034 h 162053"/>
                <a:gd name="connsiteX3" fmla="*/ 186362 w 361504"/>
                <a:gd name="connsiteY3" fmla="*/ 82897 h 162053"/>
                <a:gd name="connsiteX4" fmla="*/ 312265 w 361504"/>
                <a:gd name="connsiteY4" fmla="*/ 135253 h 162053"/>
                <a:gd name="connsiteX5" fmla="*/ 349662 w 361504"/>
                <a:gd name="connsiteY5" fmla="*/ 153951 h 162053"/>
                <a:gd name="connsiteX6" fmla="*/ 362128 w 361504"/>
                <a:gd name="connsiteY6" fmla="*/ 161431 h 162053"/>
                <a:gd name="connsiteX7" fmla="*/ 348416 w 361504"/>
                <a:gd name="connsiteY7" fmla="*/ 155198 h 162053"/>
                <a:gd name="connsiteX8" fmla="*/ 311019 w 361504"/>
                <a:gd name="connsiteY8" fmla="*/ 137746 h 162053"/>
                <a:gd name="connsiteX9" fmla="*/ 185115 w 361504"/>
                <a:gd name="connsiteY9" fmla="*/ 87883 h 162053"/>
                <a:gd name="connsiteX10" fmla="*/ 59212 w 361504"/>
                <a:gd name="connsiteY10" fmla="*/ 35527 h 162053"/>
                <a:gd name="connsiteX11" fmla="*/ 21815 w 361504"/>
                <a:gd name="connsiteY11" fmla="*/ 16829 h 162053"/>
                <a:gd name="connsiteX12" fmla="*/ 9349 w 361504"/>
                <a:gd name="connsiteY1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504" h="162053">
                  <a:moveTo>
                    <a:pt x="9349" y="9349"/>
                  </a:moveTo>
                  <a:cubicBezTo>
                    <a:pt x="9349" y="9349"/>
                    <a:pt x="14335" y="11843"/>
                    <a:pt x="23062" y="15582"/>
                  </a:cubicBezTo>
                  <a:cubicBezTo>
                    <a:pt x="31787" y="19322"/>
                    <a:pt x="44253" y="25554"/>
                    <a:pt x="60459" y="33034"/>
                  </a:cubicBezTo>
                  <a:cubicBezTo>
                    <a:pt x="91623" y="46746"/>
                    <a:pt x="136499" y="64198"/>
                    <a:pt x="186362" y="82897"/>
                  </a:cubicBezTo>
                  <a:cubicBezTo>
                    <a:pt x="236225" y="101595"/>
                    <a:pt x="281101" y="120294"/>
                    <a:pt x="312265" y="135253"/>
                  </a:cubicBezTo>
                  <a:cubicBezTo>
                    <a:pt x="328471" y="142732"/>
                    <a:pt x="340937" y="148965"/>
                    <a:pt x="349662" y="153951"/>
                  </a:cubicBezTo>
                  <a:cubicBezTo>
                    <a:pt x="358388" y="158937"/>
                    <a:pt x="362128" y="161431"/>
                    <a:pt x="362128" y="161431"/>
                  </a:cubicBezTo>
                  <a:cubicBezTo>
                    <a:pt x="362128" y="161431"/>
                    <a:pt x="357142" y="158937"/>
                    <a:pt x="348416" y="155198"/>
                  </a:cubicBezTo>
                  <a:cubicBezTo>
                    <a:pt x="339690" y="151458"/>
                    <a:pt x="327224" y="145225"/>
                    <a:pt x="311019" y="137746"/>
                  </a:cubicBezTo>
                  <a:cubicBezTo>
                    <a:pt x="279855" y="124034"/>
                    <a:pt x="234978" y="106581"/>
                    <a:pt x="185115" y="87883"/>
                  </a:cubicBezTo>
                  <a:cubicBezTo>
                    <a:pt x="135253" y="69184"/>
                    <a:pt x="90376" y="50486"/>
                    <a:pt x="59212" y="35527"/>
                  </a:cubicBezTo>
                  <a:cubicBezTo>
                    <a:pt x="43007" y="28048"/>
                    <a:pt x="30541" y="21815"/>
                    <a:pt x="21815" y="16829"/>
                  </a:cubicBezTo>
                  <a:cubicBezTo>
                    <a:pt x="14335" y="13089"/>
                    <a:pt x="9349" y="9349"/>
                    <a:pt x="9349" y="9349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07457BF8-59D6-4973-BA7D-44BBC01F80D6}"/>
                </a:ext>
              </a:extLst>
            </p:cNvPr>
            <p:cNvSpPr/>
            <p:nvPr/>
          </p:nvSpPr>
          <p:spPr>
            <a:xfrm>
              <a:off x="6259377" y="3470126"/>
              <a:ext cx="274245" cy="186985"/>
            </a:xfrm>
            <a:custGeom>
              <a:avLst/>
              <a:gdLst>
                <a:gd name="connsiteX0" fmla="*/ 274868 w 274245"/>
                <a:gd name="connsiteY0" fmla="*/ 186686 h 186985"/>
                <a:gd name="connsiteX1" fmla="*/ 263649 w 274245"/>
                <a:gd name="connsiteY1" fmla="*/ 181700 h 186985"/>
                <a:gd name="connsiteX2" fmla="*/ 233732 w 274245"/>
                <a:gd name="connsiteY2" fmla="*/ 164248 h 186985"/>
                <a:gd name="connsiteX3" fmla="*/ 140239 w 274245"/>
                <a:gd name="connsiteY3" fmla="*/ 100673 h 186985"/>
                <a:gd name="connsiteX4" fmla="*/ 47993 w 274245"/>
                <a:gd name="connsiteY4" fmla="*/ 35852 h 186985"/>
                <a:gd name="connsiteX5" fmla="*/ 19322 w 274245"/>
                <a:gd name="connsiteY5" fmla="*/ 17153 h 186985"/>
                <a:gd name="connsiteX6" fmla="*/ 9349 w 274245"/>
                <a:gd name="connsiteY6" fmla="*/ 9674 h 186985"/>
                <a:gd name="connsiteX7" fmla="*/ 20568 w 274245"/>
                <a:gd name="connsiteY7" fmla="*/ 14660 h 186985"/>
                <a:gd name="connsiteX8" fmla="*/ 50486 w 274245"/>
                <a:gd name="connsiteY8" fmla="*/ 32112 h 186985"/>
                <a:gd name="connsiteX9" fmla="*/ 143978 w 274245"/>
                <a:gd name="connsiteY9" fmla="*/ 95687 h 186985"/>
                <a:gd name="connsiteX10" fmla="*/ 236224 w 274245"/>
                <a:gd name="connsiteY10" fmla="*/ 160508 h 186985"/>
                <a:gd name="connsiteX11" fmla="*/ 264896 w 274245"/>
                <a:gd name="connsiteY11" fmla="*/ 179207 h 186985"/>
                <a:gd name="connsiteX12" fmla="*/ 274868 w 274245"/>
                <a:gd name="connsiteY12" fmla="*/ 186686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4245" h="186985">
                  <a:moveTo>
                    <a:pt x="274868" y="186686"/>
                  </a:moveTo>
                  <a:cubicBezTo>
                    <a:pt x="274868" y="186686"/>
                    <a:pt x="271129" y="185440"/>
                    <a:pt x="263649" y="181700"/>
                  </a:cubicBezTo>
                  <a:cubicBezTo>
                    <a:pt x="256170" y="177960"/>
                    <a:pt x="246197" y="171727"/>
                    <a:pt x="233732" y="164248"/>
                  </a:cubicBezTo>
                  <a:cubicBezTo>
                    <a:pt x="208800" y="149289"/>
                    <a:pt x="176389" y="126851"/>
                    <a:pt x="140239" y="100673"/>
                  </a:cubicBezTo>
                  <a:cubicBezTo>
                    <a:pt x="104089" y="74495"/>
                    <a:pt x="71678" y="52057"/>
                    <a:pt x="47993" y="35852"/>
                  </a:cubicBezTo>
                  <a:cubicBezTo>
                    <a:pt x="38020" y="29619"/>
                    <a:pt x="28048" y="23386"/>
                    <a:pt x="19322" y="17153"/>
                  </a:cubicBezTo>
                  <a:cubicBezTo>
                    <a:pt x="13089" y="13413"/>
                    <a:pt x="9349" y="10920"/>
                    <a:pt x="9349" y="9674"/>
                  </a:cubicBezTo>
                  <a:cubicBezTo>
                    <a:pt x="9349" y="8427"/>
                    <a:pt x="13089" y="10920"/>
                    <a:pt x="20568" y="14660"/>
                  </a:cubicBezTo>
                  <a:cubicBezTo>
                    <a:pt x="28048" y="18400"/>
                    <a:pt x="38020" y="24633"/>
                    <a:pt x="50486" y="32112"/>
                  </a:cubicBezTo>
                  <a:cubicBezTo>
                    <a:pt x="75417" y="47071"/>
                    <a:pt x="107828" y="69509"/>
                    <a:pt x="143978" y="95687"/>
                  </a:cubicBezTo>
                  <a:cubicBezTo>
                    <a:pt x="180129" y="121865"/>
                    <a:pt x="212540" y="144303"/>
                    <a:pt x="236224" y="160508"/>
                  </a:cubicBezTo>
                  <a:cubicBezTo>
                    <a:pt x="246197" y="166741"/>
                    <a:pt x="256170" y="172974"/>
                    <a:pt x="264896" y="179207"/>
                  </a:cubicBezTo>
                  <a:cubicBezTo>
                    <a:pt x="271129" y="184193"/>
                    <a:pt x="274868" y="186686"/>
                    <a:pt x="274868" y="186686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52D76CDE-293B-456B-B176-BA0D723C73B6}"/>
                </a:ext>
              </a:extLst>
            </p:cNvPr>
            <p:cNvSpPr/>
            <p:nvPr/>
          </p:nvSpPr>
          <p:spPr>
            <a:xfrm>
              <a:off x="6766973" y="3658683"/>
              <a:ext cx="24931" cy="112191"/>
            </a:xfrm>
            <a:custGeom>
              <a:avLst/>
              <a:gdLst>
                <a:gd name="connsiteX0" fmla="*/ 22818 w 24931"/>
                <a:gd name="connsiteY0" fmla="*/ 107828 h 112191"/>
                <a:gd name="connsiteX1" fmla="*/ 14093 w 24931"/>
                <a:gd name="connsiteY1" fmla="*/ 59212 h 112191"/>
                <a:gd name="connsiteX2" fmla="*/ 10353 w 24931"/>
                <a:gd name="connsiteY2" fmla="*/ 9349 h 112191"/>
                <a:gd name="connsiteX3" fmla="*/ 19079 w 24931"/>
                <a:gd name="connsiteY3" fmla="*/ 57965 h 112191"/>
                <a:gd name="connsiteX4" fmla="*/ 22818 w 24931"/>
                <a:gd name="connsiteY4" fmla="*/ 10782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112191">
                  <a:moveTo>
                    <a:pt x="22818" y="107828"/>
                  </a:moveTo>
                  <a:cubicBezTo>
                    <a:pt x="21572" y="107828"/>
                    <a:pt x="17832" y="86636"/>
                    <a:pt x="14093" y="59212"/>
                  </a:cubicBezTo>
                  <a:cubicBezTo>
                    <a:pt x="10353" y="31787"/>
                    <a:pt x="7860" y="9349"/>
                    <a:pt x="10353" y="9349"/>
                  </a:cubicBezTo>
                  <a:cubicBezTo>
                    <a:pt x="11599" y="9349"/>
                    <a:pt x="15339" y="30541"/>
                    <a:pt x="19079" y="57965"/>
                  </a:cubicBezTo>
                  <a:cubicBezTo>
                    <a:pt x="22818" y="85390"/>
                    <a:pt x="24065" y="107828"/>
                    <a:pt x="22818" y="107828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0F4D83FC-E1DB-478C-8736-8C2E630AC9D6}"/>
                </a:ext>
              </a:extLst>
            </p:cNvPr>
            <p:cNvSpPr/>
            <p:nvPr/>
          </p:nvSpPr>
          <p:spPr>
            <a:xfrm>
              <a:off x="6780442" y="3716940"/>
              <a:ext cx="62328" cy="24931"/>
            </a:xfrm>
            <a:custGeom>
              <a:avLst/>
              <a:gdLst>
                <a:gd name="connsiteX0" fmla="*/ 57965 w 62328"/>
                <a:gd name="connsiteY0" fmla="*/ 9681 h 24931"/>
                <a:gd name="connsiteX1" fmla="*/ 34281 w 62328"/>
                <a:gd name="connsiteY1" fmla="*/ 18407 h 24931"/>
                <a:gd name="connsiteX2" fmla="*/ 9349 w 62328"/>
                <a:gd name="connsiteY2" fmla="*/ 19653 h 24931"/>
                <a:gd name="connsiteX3" fmla="*/ 33034 w 62328"/>
                <a:gd name="connsiteY3" fmla="*/ 13421 h 24931"/>
                <a:gd name="connsiteX4" fmla="*/ 57965 w 62328"/>
                <a:gd name="connsiteY4" fmla="*/ 9681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28" h="24931">
                  <a:moveTo>
                    <a:pt x="57965" y="9681"/>
                  </a:moveTo>
                  <a:cubicBezTo>
                    <a:pt x="57965" y="10927"/>
                    <a:pt x="47993" y="15914"/>
                    <a:pt x="34281" y="18407"/>
                  </a:cubicBezTo>
                  <a:cubicBezTo>
                    <a:pt x="20568" y="20900"/>
                    <a:pt x="9349" y="20900"/>
                    <a:pt x="9349" y="19653"/>
                  </a:cubicBezTo>
                  <a:cubicBezTo>
                    <a:pt x="9349" y="18407"/>
                    <a:pt x="20568" y="15914"/>
                    <a:pt x="33034" y="13421"/>
                  </a:cubicBezTo>
                  <a:cubicBezTo>
                    <a:pt x="46746" y="10927"/>
                    <a:pt x="56719" y="8434"/>
                    <a:pt x="57965" y="9681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B07E1283-DC76-44DB-855D-529D07209B84}"/>
                </a:ext>
              </a:extLst>
            </p:cNvPr>
            <p:cNvSpPr/>
            <p:nvPr/>
          </p:nvSpPr>
          <p:spPr>
            <a:xfrm>
              <a:off x="6278960" y="5253598"/>
              <a:ext cx="211917" cy="62328"/>
            </a:xfrm>
            <a:custGeom>
              <a:avLst/>
              <a:gdLst>
                <a:gd name="connsiteX0" fmla="*/ 18437 w 211916"/>
                <a:gd name="connsiteY0" fmla="*/ 15028 h 62328"/>
                <a:gd name="connsiteX1" fmla="*/ 9711 w 211916"/>
                <a:gd name="connsiteY1" fmla="*/ 56164 h 62328"/>
                <a:gd name="connsiteX2" fmla="*/ 211655 w 211916"/>
                <a:gd name="connsiteY2" fmla="*/ 41206 h 62328"/>
                <a:gd name="connsiteX3" fmla="*/ 58327 w 211916"/>
                <a:gd name="connsiteY3" fmla="*/ 11288 h 62328"/>
                <a:gd name="connsiteX4" fmla="*/ 18437 w 211916"/>
                <a:gd name="connsiteY4" fmla="*/ 15028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916" h="62328">
                  <a:moveTo>
                    <a:pt x="18437" y="15028"/>
                  </a:moveTo>
                  <a:cubicBezTo>
                    <a:pt x="18437" y="15028"/>
                    <a:pt x="7218" y="36219"/>
                    <a:pt x="9711" y="56164"/>
                  </a:cubicBezTo>
                  <a:lnTo>
                    <a:pt x="211655" y="41206"/>
                  </a:lnTo>
                  <a:cubicBezTo>
                    <a:pt x="211655" y="41206"/>
                    <a:pt x="229107" y="69"/>
                    <a:pt x="58327" y="11288"/>
                  </a:cubicBezTo>
                  <a:lnTo>
                    <a:pt x="18437" y="15028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1482E5D0-380B-4E9C-BE4F-5F8A152E7AEE}"/>
                </a:ext>
              </a:extLst>
            </p:cNvPr>
            <p:cNvSpPr/>
            <p:nvPr/>
          </p:nvSpPr>
          <p:spPr>
            <a:xfrm>
              <a:off x="6585616" y="5231778"/>
              <a:ext cx="224382" cy="62328"/>
            </a:xfrm>
            <a:custGeom>
              <a:avLst/>
              <a:gdLst>
                <a:gd name="connsiteX0" fmla="*/ 18437 w 224382"/>
                <a:gd name="connsiteY0" fmla="*/ 14409 h 62328"/>
                <a:gd name="connsiteX1" fmla="*/ 9711 w 224382"/>
                <a:gd name="connsiteY1" fmla="*/ 55546 h 62328"/>
                <a:gd name="connsiteX2" fmla="*/ 224121 w 224382"/>
                <a:gd name="connsiteY2" fmla="*/ 39340 h 62328"/>
                <a:gd name="connsiteX3" fmla="*/ 57081 w 224382"/>
                <a:gd name="connsiteY3" fmla="*/ 10669 h 62328"/>
                <a:gd name="connsiteX4" fmla="*/ 18437 w 224382"/>
                <a:gd name="connsiteY4" fmla="*/ 1440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62328">
                  <a:moveTo>
                    <a:pt x="18437" y="14409"/>
                  </a:moveTo>
                  <a:cubicBezTo>
                    <a:pt x="18437" y="14409"/>
                    <a:pt x="7218" y="35600"/>
                    <a:pt x="9711" y="55546"/>
                  </a:cubicBezTo>
                  <a:lnTo>
                    <a:pt x="224121" y="39340"/>
                  </a:lnTo>
                  <a:cubicBezTo>
                    <a:pt x="224121" y="39340"/>
                    <a:pt x="230353" y="1943"/>
                    <a:pt x="57081" y="10669"/>
                  </a:cubicBezTo>
                  <a:lnTo>
                    <a:pt x="18437" y="1440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4B92F0B4-9A3B-44D9-90F9-BDE2383671E6}"/>
                </a:ext>
              </a:extLst>
            </p:cNvPr>
            <p:cNvSpPr/>
            <p:nvPr/>
          </p:nvSpPr>
          <p:spPr>
            <a:xfrm>
              <a:off x="6350188" y="5245330"/>
              <a:ext cx="49863" cy="37397"/>
            </a:xfrm>
            <a:custGeom>
              <a:avLst/>
              <a:gdLst>
                <a:gd name="connsiteX0" fmla="*/ 41948 w 49862"/>
                <a:gd name="connsiteY0" fmla="*/ 9583 h 37397"/>
                <a:gd name="connsiteX1" fmla="*/ 25743 w 49862"/>
                <a:gd name="connsiteY1" fmla="*/ 24542 h 37397"/>
                <a:gd name="connsiteX2" fmla="*/ 9538 w 49862"/>
                <a:gd name="connsiteY2" fmla="*/ 38254 h 37397"/>
                <a:gd name="connsiteX3" fmla="*/ 23250 w 49862"/>
                <a:gd name="connsiteY3" fmla="*/ 20802 h 37397"/>
                <a:gd name="connsiteX4" fmla="*/ 41948 w 49862"/>
                <a:gd name="connsiteY4" fmla="*/ 9583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583"/>
                  </a:moveTo>
                  <a:cubicBezTo>
                    <a:pt x="43195" y="10830"/>
                    <a:pt x="34469" y="15816"/>
                    <a:pt x="25743" y="24542"/>
                  </a:cubicBezTo>
                  <a:cubicBezTo>
                    <a:pt x="17017" y="32021"/>
                    <a:pt x="9538" y="39501"/>
                    <a:pt x="9538" y="38254"/>
                  </a:cubicBezTo>
                  <a:cubicBezTo>
                    <a:pt x="8291" y="37008"/>
                    <a:pt x="13277" y="28282"/>
                    <a:pt x="23250" y="20802"/>
                  </a:cubicBezTo>
                  <a:cubicBezTo>
                    <a:pt x="30729" y="12076"/>
                    <a:pt x="40702" y="8336"/>
                    <a:pt x="41948" y="95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E5EE99C0-9B17-4000-983E-15AAB2D48F29}"/>
                </a:ext>
              </a:extLst>
            </p:cNvPr>
            <p:cNvSpPr/>
            <p:nvPr/>
          </p:nvSpPr>
          <p:spPr>
            <a:xfrm>
              <a:off x="6367669" y="5249065"/>
              <a:ext cx="49863" cy="37397"/>
            </a:xfrm>
            <a:custGeom>
              <a:avLst/>
              <a:gdLst>
                <a:gd name="connsiteX0" fmla="*/ 40672 w 49862"/>
                <a:gd name="connsiteY0" fmla="*/ 9588 h 37397"/>
                <a:gd name="connsiteX1" fmla="*/ 25714 w 49862"/>
                <a:gd name="connsiteY1" fmla="*/ 23300 h 37397"/>
                <a:gd name="connsiteX2" fmla="*/ 9508 w 49862"/>
                <a:gd name="connsiteY2" fmla="*/ 34520 h 37397"/>
                <a:gd name="connsiteX3" fmla="*/ 23220 w 49862"/>
                <a:gd name="connsiteY3" fmla="*/ 18314 h 37397"/>
                <a:gd name="connsiteX4" fmla="*/ 40672 w 49862"/>
                <a:gd name="connsiteY4" fmla="*/ 9588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0672" y="9588"/>
                  </a:moveTo>
                  <a:cubicBezTo>
                    <a:pt x="41919" y="10834"/>
                    <a:pt x="34439" y="15821"/>
                    <a:pt x="25714" y="23300"/>
                  </a:cubicBezTo>
                  <a:cubicBezTo>
                    <a:pt x="16988" y="29533"/>
                    <a:pt x="9508" y="35766"/>
                    <a:pt x="9508" y="34520"/>
                  </a:cubicBezTo>
                  <a:cubicBezTo>
                    <a:pt x="8262" y="33273"/>
                    <a:pt x="14495" y="25793"/>
                    <a:pt x="23220" y="18314"/>
                  </a:cubicBezTo>
                  <a:cubicBezTo>
                    <a:pt x="31946" y="12081"/>
                    <a:pt x="40672" y="8341"/>
                    <a:pt x="40672" y="958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A384B426-FFC1-4084-AE4E-BC21569AB25C}"/>
                </a:ext>
              </a:extLst>
            </p:cNvPr>
            <p:cNvSpPr/>
            <p:nvPr/>
          </p:nvSpPr>
          <p:spPr>
            <a:xfrm>
              <a:off x="6388832" y="5248986"/>
              <a:ext cx="49863" cy="37397"/>
            </a:xfrm>
            <a:custGeom>
              <a:avLst/>
              <a:gdLst>
                <a:gd name="connsiteX0" fmla="*/ 41948 w 49862"/>
                <a:gd name="connsiteY0" fmla="*/ 9667 h 37397"/>
                <a:gd name="connsiteX1" fmla="*/ 25743 w 49862"/>
                <a:gd name="connsiteY1" fmla="*/ 20886 h 37397"/>
                <a:gd name="connsiteX2" fmla="*/ 9538 w 49862"/>
                <a:gd name="connsiteY2" fmla="*/ 32105 h 37397"/>
                <a:gd name="connsiteX3" fmla="*/ 23250 w 49862"/>
                <a:gd name="connsiteY3" fmla="*/ 15900 h 37397"/>
                <a:gd name="connsiteX4" fmla="*/ 41948 w 49862"/>
                <a:gd name="connsiteY4" fmla="*/ 9667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667"/>
                  </a:moveTo>
                  <a:cubicBezTo>
                    <a:pt x="41948" y="10913"/>
                    <a:pt x="34469" y="14653"/>
                    <a:pt x="25743" y="20886"/>
                  </a:cubicBezTo>
                  <a:cubicBezTo>
                    <a:pt x="17017" y="27119"/>
                    <a:pt x="10784" y="33352"/>
                    <a:pt x="9538" y="32105"/>
                  </a:cubicBezTo>
                  <a:cubicBezTo>
                    <a:pt x="8291" y="30858"/>
                    <a:pt x="13277" y="23379"/>
                    <a:pt x="23250" y="15900"/>
                  </a:cubicBezTo>
                  <a:cubicBezTo>
                    <a:pt x="31976" y="10913"/>
                    <a:pt x="41948" y="8420"/>
                    <a:pt x="41948" y="966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15CF99B-1A4F-43B7-8BC0-2F2D57912020}"/>
                </a:ext>
              </a:extLst>
            </p:cNvPr>
            <p:cNvSpPr/>
            <p:nvPr/>
          </p:nvSpPr>
          <p:spPr>
            <a:xfrm>
              <a:off x="6322759" y="5225371"/>
              <a:ext cx="49863" cy="49863"/>
            </a:xfrm>
            <a:custGeom>
              <a:avLst/>
              <a:gdLst>
                <a:gd name="connsiteX0" fmla="*/ 36966 w 49862"/>
                <a:gd name="connsiteY0" fmla="*/ 48240 h 49862"/>
                <a:gd name="connsiteX1" fmla="*/ 33227 w 49862"/>
                <a:gd name="connsiteY1" fmla="*/ 25802 h 49862"/>
                <a:gd name="connsiteX2" fmla="*/ 35720 w 49862"/>
                <a:gd name="connsiteY2" fmla="*/ 14583 h 49862"/>
                <a:gd name="connsiteX3" fmla="*/ 40706 w 49862"/>
                <a:gd name="connsiteY3" fmla="*/ 9597 h 49862"/>
                <a:gd name="connsiteX4" fmla="*/ 48186 w 49862"/>
                <a:gd name="connsiteY4" fmla="*/ 14583 h 49862"/>
                <a:gd name="connsiteX5" fmla="*/ 45693 w 49862"/>
                <a:gd name="connsiteY5" fmla="*/ 29542 h 49862"/>
                <a:gd name="connsiteX6" fmla="*/ 43199 w 49862"/>
                <a:gd name="connsiteY6" fmla="*/ 37021 h 49862"/>
                <a:gd name="connsiteX7" fmla="*/ 41953 w 49862"/>
                <a:gd name="connsiteY7" fmla="*/ 40761 h 49862"/>
                <a:gd name="connsiteX8" fmla="*/ 40706 w 49862"/>
                <a:gd name="connsiteY8" fmla="*/ 43254 h 49862"/>
                <a:gd name="connsiteX9" fmla="*/ 36966 w 49862"/>
                <a:gd name="connsiteY9" fmla="*/ 44501 h 49862"/>
                <a:gd name="connsiteX10" fmla="*/ 10788 w 49862"/>
                <a:gd name="connsiteY10" fmla="*/ 28295 h 49862"/>
                <a:gd name="connsiteX11" fmla="*/ 10788 w 49862"/>
                <a:gd name="connsiteY11" fmla="*/ 19570 h 49862"/>
                <a:gd name="connsiteX12" fmla="*/ 18268 w 49862"/>
                <a:gd name="connsiteY12" fmla="*/ 17076 h 49862"/>
                <a:gd name="connsiteX13" fmla="*/ 28241 w 49862"/>
                <a:gd name="connsiteY13" fmla="*/ 24556 h 49862"/>
                <a:gd name="connsiteX14" fmla="*/ 34474 w 49862"/>
                <a:gd name="connsiteY14" fmla="*/ 45748 h 49862"/>
                <a:gd name="connsiteX15" fmla="*/ 25747 w 49862"/>
                <a:gd name="connsiteY15" fmla="*/ 25802 h 49862"/>
                <a:gd name="connsiteX16" fmla="*/ 18268 w 49862"/>
                <a:gd name="connsiteY16" fmla="*/ 20816 h 49862"/>
                <a:gd name="connsiteX17" fmla="*/ 15775 w 49862"/>
                <a:gd name="connsiteY17" fmla="*/ 25802 h 49862"/>
                <a:gd name="connsiteX18" fmla="*/ 38213 w 49862"/>
                <a:gd name="connsiteY18" fmla="*/ 39515 h 49862"/>
                <a:gd name="connsiteX19" fmla="*/ 39460 w 49862"/>
                <a:gd name="connsiteY19" fmla="*/ 35775 h 49862"/>
                <a:gd name="connsiteX20" fmla="*/ 41953 w 49862"/>
                <a:gd name="connsiteY20" fmla="*/ 28295 h 49862"/>
                <a:gd name="connsiteX21" fmla="*/ 44446 w 49862"/>
                <a:gd name="connsiteY21" fmla="*/ 15830 h 49862"/>
                <a:gd name="connsiteX22" fmla="*/ 39460 w 49862"/>
                <a:gd name="connsiteY22" fmla="*/ 17076 h 49862"/>
                <a:gd name="connsiteX23" fmla="*/ 36966 w 49862"/>
                <a:gd name="connsiteY23" fmla="*/ 27049 h 49862"/>
                <a:gd name="connsiteX24" fmla="*/ 36966 w 49862"/>
                <a:gd name="connsiteY24" fmla="*/ 48240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9862" h="49862">
                  <a:moveTo>
                    <a:pt x="36966" y="48240"/>
                  </a:moveTo>
                  <a:cubicBezTo>
                    <a:pt x="36966" y="48240"/>
                    <a:pt x="33227" y="40761"/>
                    <a:pt x="33227" y="25802"/>
                  </a:cubicBezTo>
                  <a:cubicBezTo>
                    <a:pt x="33227" y="22062"/>
                    <a:pt x="33227" y="18323"/>
                    <a:pt x="35720" y="14583"/>
                  </a:cubicBezTo>
                  <a:cubicBezTo>
                    <a:pt x="36966" y="12090"/>
                    <a:pt x="38213" y="10843"/>
                    <a:pt x="40706" y="9597"/>
                  </a:cubicBezTo>
                  <a:cubicBezTo>
                    <a:pt x="44446" y="8351"/>
                    <a:pt x="48186" y="12090"/>
                    <a:pt x="48186" y="14583"/>
                  </a:cubicBezTo>
                  <a:cubicBezTo>
                    <a:pt x="48186" y="20816"/>
                    <a:pt x="46939" y="24556"/>
                    <a:pt x="45693" y="29542"/>
                  </a:cubicBezTo>
                  <a:lnTo>
                    <a:pt x="43199" y="37021"/>
                  </a:lnTo>
                  <a:lnTo>
                    <a:pt x="41953" y="40761"/>
                  </a:lnTo>
                  <a:cubicBezTo>
                    <a:pt x="41953" y="40761"/>
                    <a:pt x="41953" y="42008"/>
                    <a:pt x="40706" y="43254"/>
                  </a:cubicBezTo>
                  <a:cubicBezTo>
                    <a:pt x="39460" y="44501"/>
                    <a:pt x="38213" y="45748"/>
                    <a:pt x="36966" y="44501"/>
                  </a:cubicBezTo>
                  <a:cubicBezTo>
                    <a:pt x="25747" y="40761"/>
                    <a:pt x="18268" y="35775"/>
                    <a:pt x="10788" y="28295"/>
                  </a:cubicBezTo>
                  <a:cubicBezTo>
                    <a:pt x="9542" y="25802"/>
                    <a:pt x="8296" y="22062"/>
                    <a:pt x="10788" y="19570"/>
                  </a:cubicBezTo>
                  <a:cubicBezTo>
                    <a:pt x="13282" y="17076"/>
                    <a:pt x="15775" y="15830"/>
                    <a:pt x="18268" y="17076"/>
                  </a:cubicBezTo>
                  <a:cubicBezTo>
                    <a:pt x="23254" y="17076"/>
                    <a:pt x="26994" y="22062"/>
                    <a:pt x="28241" y="24556"/>
                  </a:cubicBezTo>
                  <a:cubicBezTo>
                    <a:pt x="35720" y="37021"/>
                    <a:pt x="34474" y="45748"/>
                    <a:pt x="34474" y="45748"/>
                  </a:cubicBezTo>
                  <a:cubicBezTo>
                    <a:pt x="34474" y="45748"/>
                    <a:pt x="34474" y="37021"/>
                    <a:pt x="25747" y="25802"/>
                  </a:cubicBezTo>
                  <a:cubicBezTo>
                    <a:pt x="24501" y="23309"/>
                    <a:pt x="20761" y="20816"/>
                    <a:pt x="18268" y="20816"/>
                  </a:cubicBezTo>
                  <a:cubicBezTo>
                    <a:pt x="14528" y="20816"/>
                    <a:pt x="13282" y="23309"/>
                    <a:pt x="15775" y="25802"/>
                  </a:cubicBezTo>
                  <a:cubicBezTo>
                    <a:pt x="20761" y="30789"/>
                    <a:pt x="30734" y="37021"/>
                    <a:pt x="38213" y="39515"/>
                  </a:cubicBezTo>
                  <a:cubicBezTo>
                    <a:pt x="36966" y="42008"/>
                    <a:pt x="38213" y="37021"/>
                    <a:pt x="39460" y="35775"/>
                  </a:cubicBezTo>
                  <a:lnTo>
                    <a:pt x="41953" y="28295"/>
                  </a:lnTo>
                  <a:cubicBezTo>
                    <a:pt x="43199" y="23309"/>
                    <a:pt x="44446" y="18323"/>
                    <a:pt x="44446" y="15830"/>
                  </a:cubicBezTo>
                  <a:cubicBezTo>
                    <a:pt x="44446" y="12090"/>
                    <a:pt x="41953" y="14583"/>
                    <a:pt x="39460" y="17076"/>
                  </a:cubicBezTo>
                  <a:cubicBezTo>
                    <a:pt x="38213" y="19570"/>
                    <a:pt x="36966" y="23309"/>
                    <a:pt x="36966" y="27049"/>
                  </a:cubicBezTo>
                  <a:cubicBezTo>
                    <a:pt x="35720" y="40761"/>
                    <a:pt x="36966" y="48240"/>
                    <a:pt x="36966" y="4824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C1680775-BB80-4A1C-A939-BE6A91939472}"/>
                </a:ext>
              </a:extLst>
            </p:cNvPr>
            <p:cNvSpPr/>
            <p:nvPr/>
          </p:nvSpPr>
          <p:spPr>
            <a:xfrm>
              <a:off x="6660480" y="5219386"/>
              <a:ext cx="49863" cy="49863"/>
            </a:xfrm>
            <a:custGeom>
              <a:avLst/>
              <a:gdLst>
                <a:gd name="connsiteX0" fmla="*/ 40805 w 49862"/>
                <a:gd name="connsiteY0" fmla="*/ 10596 h 49862"/>
                <a:gd name="connsiteX1" fmla="*/ 42052 w 49862"/>
                <a:gd name="connsiteY1" fmla="*/ 9349 h 49862"/>
                <a:gd name="connsiteX2" fmla="*/ 43298 w 49862"/>
                <a:gd name="connsiteY2" fmla="*/ 10596 h 49862"/>
                <a:gd name="connsiteX3" fmla="*/ 25846 w 49862"/>
                <a:gd name="connsiteY3" fmla="*/ 24308 h 49862"/>
                <a:gd name="connsiteX4" fmla="*/ 9641 w 49862"/>
                <a:gd name="connsiteY4" fmla="*/ 41760 h 49862"/>
                <a:gd name="connsiteX5" fmla="*/ 22107 w 49862"/>
                <a:gd name="connsiteY5" fmla="*/ 20569 h 49862"/>
                <a:gd name="connsiteX6" fmla="*/ 43298 w 49862"/>
                <a:gd name="connsiteY6" fmla="*/ 9349 h 49862"/>
                <a:gd name="connsiteX7" fmla="*/ 44545 w 49862"/>
                <a:gd name="connsiteY7" fmla="*/ 10596 h 49862"/>
                <a:gd name="connsiteX8" fmla="*/ 40805 w 49862"/>
                <a:gd name="connsiteY8" fmla="*/ 1059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49862">
                  <a:moveTo>
                    <a:pt x="40805" y="10596"/>
                  </a:moveTo>
                  <a:cubicBezTo>
                    <a:pt x="40805" y="10596"/>
                    <a:pt x="40805" y="9349"/>
                    <a:pt x="42052" y="9349"/>
                  </a:cubicBezTo>
                  <a:lnTo>
                    <a:pt x="43298" y="10596"/>
                  </a:lnTo>
                  <a:cubicBezTo>
                    <a:pt x="40805" y="13089"/>
                    <a:pt x="33326" y="16829"/>
                    <a:pt x="25846" y="24308"/>
                  </a:cubicBezTo>
                  <a:cubicBezTo>
                    <a:pt x="15874" y="33034"/>
                    <a:pt x="10888" y="43007"/>
                    <a:pt x="9641" y="41760"/>
                  </a:cubicBezTo>
                  <a:cubicBezTo>
                    <a:pt x="8395" y="41760"/>
                    <a:pt x="10888" y="29294"/>
                    <a:pt x="22107" y="20569"/>
                  </a:cubicBezTo>
                  <a:cubicBezTo>
                    <a:pt x="30833" y="13089"/>
                    <a:pt x="39559" y="9349"/>
                    <a:pt x="43298" y="9349"/>
                  </a:cubicBezTo>
                  <a:lnTo>
                    <a:pt x="44545" y="10596"/>
                  </a:lnTo>
                  <a:cubicBezTo>
                    <a:pt x="40805" y="10596"/>
                    <a:pt x="40805" y="10596"/>
                    <a:pt x="40805" y="1059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B7B20104-1A66-438C-A092-40B6CB66E512}"/>
                </a:ext>
              </a:extLst>
            </p:cNvPr>
            <p:cNvSpPr/>
            <p:nvPr/>
          </p:nvSpPr>
          <p:spPr>
            <a:xfrm>
              <a:off x="6677928" y="5222691"/>
              <a:ext cx="37397" cy="37397"/>
            </a:xfrm>
            <a:custGeom>
              <a:avLst/>
              <a:gdLst>
                <a:gd name="connsiteX0" fmla="*/ 39563 w 37397"/>
                <a:gd name="connsiteY0" fmla="*/ 9784 h 37397"/>
                <a:gd name="connsiteX1" fmla="*/ 23357 w 37397"/>
                <a:gd name="connsiteY1" fmla="*/ 21003 h 37397"/>
                <a:gd name="connsiteX2" fmla="*/ 9645 w 37397"/>
                <a:gd name="connsiteY2" fmla="*/ 34715 h 37397"/>
                <a:gd name="connsiteX3" fmla="*/ 20865 w 37397"/>
                <a:gd name="connsiteY3" fmla="*/ 16017 h 37397"/>
                <a:gd name="connsiteX4" fmla="*/ 39563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9563" y="9784"/>
                  </a:moveTo>
                  <a:cubicBezTo>
                    <a:pt x="39563" y="11030"/>
                    <a:pt x="30837" y="14770"/>
                    <a:pt x="23357" y="21003"/>
                  </a:cubicBezTo>
                  <a:cubicBezTo>
                    <a:pt x="14632" y="28482"/>
                    <a:pt x="10892" y="35962"/>
                    <a:pt x="9645" y="34715"/>
                  </a:cubicBezTo>
                  <a:cubicBezTo>
                    <a:pt x="8399" y="34715"/>
                    <a:pt x="10892" y="24742"/>
                    <a:pt x="20865" y="16017"/>
                  </a:cubicBezTo>
                  <a:cubicBezTo>
                    <a:pt x="28344" y="9784"/>
                    <a:pt x="39563" y="8537"/>
                    <a:pt x="39563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D3185628-0354-4453-8345-3972E32EE6AD}"/>
                </a:ext>
              </a:extLst>
            </p:cNvPr>
            <p:cNvSpPr/>
            <p:nvPr/>
          </p:nvSpPr>
          <p:spPr>
            <a:xfrm>
              <a:off x="6695439" y="5226431"/>
              <a:ext cx="37397" cy="37397"/>
            </a:xfrm>
            <a:custGeom>
              <a:avLst/>
              <a:gdLst>
                <a:gd name="connsiteX0" fmla="*/ 37010 w 37397"/>
                <a:gd name="connsiteY0" fmla="*/ 9784 h 37397"/>
                <a:gd name="connsiteX1" fmla="*/ 23298 w 37397"/>
                <a:gd name="connsiteY1" fmla="*/ 19756 h 37397"/>
                <a:gd name="connsiteX2" fmla="*/ 9586 w 37397"/>
                <a:gd name="connsiteY2" fmla="*/ 30975 h 37397"/>
                <a:gd name="connsiteX3" fmla="*/ 19558 w 37397"/>
                <a:gd name="connsiteY3" fmla="*/ 16017 h 37397"/>
                <a:gd name="connsiteX4" fmla="*/ 37010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7010" y="9784"/>
                  </a:moveTo>
                  <a:cubicBezTo>
                    <a:pt x="37010" y="11030"/>
                    <a:pt x="30777" y="14770"/>
                    <a:pt x="23298" y="19756"/>
                  </a:cubicBezTo>
                  <a:cubicBezTo>
                    <a:pt x="15818" y="24743"/>
                    <a:pt x="10832" y="30975"/>
                    <a:pt x="9586" y="30975"/>
                  </a:cubicBezTo>
                  <a:cubicBezTo>
                    <a:pt x="8339" y="30975"/>
                    <a:pt x="12078" y="22249"/>
                    <a:pt x="19558" y="16017"/>
                  </a:cubicBezTo>
                  <a:cubicBezTo>
                    <a:pt x="28284" y="9784"/>
                    <a:pt x="37010" y="8537"/>
                    <a:pt x="37010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860F985E-0B7C-43D2-8CD9-57CEDD6075D0}"/>
                </a:ext>
              </a:extLst>
            </p:cNvPr>
            <p:cNvSpPr/>
            <p:nvPr/>
          </p:nvSpPr>
          <p:spPr>
            <a:xfrm>
              <a:off x="6627426" y="5205477"/>
              <a:ext cx="49863" cy="49863"/>
            </a:xfrm>
            <a:custGeom>
              <a:avLst/>
              <a:gdLst>
                <a:gd name="connsiteX0" fmla="*/ 36462 w 49862"/>
                <a:gd name="connsiteY0" fmla="*/ 43203 h 49862"/>
                <a:gd name="connsiteX1" fmla="*/ 32722 w 49862"/>
                <a:gd name="connsiteY1" fmla="*/ 39464 h 49862"/>
                <a:gd name="connsiteX2" fmla="*/ 31476 w 49862"/>
                <a:gd name="connsiteY2" fmla="*/ 24505 h 49862"/>
                <a:gd name="connsiteX3" fmla="*/ 32722 w 49862"/>
                <a:gd name="connsiteY3" fmla="*/ 14532 h 49862"/>
                <a:gd name="connsiteX4" fmla="*/ 37709 w 49862"/>
                <a:gd name="connsiteY4" fmla="*/ 9546 h 49862"/>
                <a:gd name="connsiteX5" fmla="*/ 43941 w 49862"/>
                <a:gd name="connsiteY5" fmla="*/ 15779 h 49862"/>
                <a:gd name="connsiteX6" fmla="*/ 43941 w 49862"/>
                <a:gd name="connsiteY6" fmla="*/ 29491 h 49862"/>
                <a:gd name="connsiteX7" fmla="*/ 42695 w 49862"/>
                <a:gd name="connsiteY7" fmla="*/ 36970 h 49862"/>
                <a:gd name="connsiteX8" fmla="*/ 41448 w 49862"/>
                <a:gd name="connsiteY8" fmla="*/ 40710 h 49862"/>
                <a:gd name="connsiteX9" fmla="*/ 36462 w 49862"/>
                <a:gd name="connsiteY9" fmla="*/ 43203 h 49862"/>
                <a:gd name="connsiteX10" fmla="*/ 21503 w 49862"/>
                <a:gd name="connsiteY10" fmla="*/ 40710 h 49862"/>
                <a:gd name="connsiteX11" fmla="*/ 10284 w 49862"/>
                <a:gd name="connsiteY11" fmla="*/ 31984 h 49862"/>
                <a:gd name="connsiteX12" fmla="*/ 10284 w 49862"/>
                <a:gd name="connsiteY12" fmla="*/ 24505 h 49862"/>
                <a:gd name="connsiteX13" fmla="*/ 15270 w 49862"/>
                <a:gd name="connsiteY13" fmla="*/ 23258 h 49862"/>
                <a:gd name="connsiteX14" fmla="*/ 17763 w 49862"/>
                <a:gd name="connsiteY14" fmla="*/ 24505 h 49862"/>
                <a:gd name="connsiteX15" fmla="*/ 26489 w 49862"/>
                <a:gd name="connsiteY15" fmla="*/ 30738 h 49862"/>
                <a:gd name="connsiteX16" fmla="*/ 37709 w 49862"/>
                <a:gd name="connsiteY16" fmla="*/ 46943 h 49862"/>
                <a:gd name="connsiteX17" fmla="*/ 23996 w 49862"/>
                <a:gd name="connsiteY17" fmla="*/ 33231 h 49862"/>
                <a:gd name="connsiteX18" fmla="*/ 16517 w 49862"/>
                <a:gd name="connsiteY18" fmla="*/ 28245 h 49862"/>
                <a:gd name="connsiteX19" fmla="*/ 14024 w 49862"/>
                <a:gd name="connsiteY19" fmla="*/ 26998 h 49862"/>
                <a:gd name="connsiteX20" fmla="*/ 14024 w 49862"/>
                <a:gd name="connsiteY20" fmla="*/ 25751 h 49862"/>
                <a:gd name="connsiteX21" fmla="*/ 15270 w 49862"/>
                <a:gd name="connsiteY21" fmla="*/ 25751 h 49862"/>
                <a:gd name="connsiteX22" fmla="*/ 16517 w 49862"/>
                <a:gd name="connsiteY22" fmla="*/ 29491 h 49862"/>
                <a:gd name="connsiteX23" fmla="*/ 36462 w 49862"/>
                <a:gd name="connsiteY23" fmla="*/ 39464 h 49862"/>
                <a:gd name="connsiteX24" fmla="*/ 40202 w 49862"/>
                <a:gd name="connsiteY24" fmla="*/ 30738 h 49862"/>
                <a:gd name="connsiteX25" fmla="*/ 40202 w 49862"/>
                <a:gd name="connsiteY25" fmla="*/ 18272 h 49862"/>
                <a:gd name="connsiteX26" fmla="*/ 38955 w 49862"/>
                <a:gd name="connsiteY26" fmla="*/ 15779 h 49862"/>
                <a:gd name="connsiteX27" fmla="*/ 37709 w 49862"/>
                <a:gd name="connsiteY27" fmla="*/ 18272 h 49862"/>
                <a:gd name="connsiteX28" fmla="*/ 36462 w 49862"/>
                <a:gd name="connsiteY28" fmla="*/ 28245 h 49862"/>
                <a:gd name="connsiteX29" fmla="*/ 35216 w 49862"/>
                <a:gd name="connsiteY29" fmla="*/ 41957 h 49862"/>
                <a:gd name="connsiteX30" fmla="*/ 36462 w 49862"/>
                <a:gd name="connsiteY30" fmla="*/ 4320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9862" h="49862">
                  <a:moveTo>
                    <a:pt x="36462" y="43203"/>
                  </a:moveTo>
                  <a:cubicBezTo>
                    <a:pt x="36462" y="43203"/>
                    <a:pt x="33969" y="41957"/>
                    <a:pt x="32722" y="39464"/>
                  </a:cubicBezTo>
                  <a:cubicBezTo>
                    <a:pt x="31476" y="35724"/>
                    <a:pt x="31476" y="30738"/>
                    <a:pt x="31476" y="24505"/>
                  </a:cubicBezTo>
                  <a:cubicBezTo>
                    <a:pt x="31476" y="20765"/>
                    <a:pt x="31476" y="18272"/>
                    <a:pt x="32722" y="14532"/>
                  </a:cubicBezTo>
                  <a:cubicBezTo>
                    <a:pt x="33969" y="13286"/>
                    <a:pt x="33969" y="9546"/>
                    <a:pt x="37709" y="9546"/>
                  </a:cubicBezTo>
                  <a:cubicBezTo>
                    <a:pt x="41448" y="8299"/>
                    <a:pt x="43941" y="13286"/>
                    <a:pt x="43941" y="15779"/>
                  </a:cubicBezTo>
                  <a:cubicBezTo>
                    <a:pt x="45188" y="19518"/>
                    <a:pt x="45188" y="24505"/>
                    <a:pt x="43941" y="29491"/>
                  </a:cubicBezTo>
                  <a:cubicBezTo>
                    <a:pt x="43941" y="31984"/>
                    <a:pt x="42695" y="34477"/>
                    <a:pt x="42695" y="36970"/>
                  </a:cubicBezTo>
                  <a:cubicBezTo>
                    <a:pt x="42695" y="38217"/>
                    <a:pt x="41448" y="39464"/>
                    <a:pt x="41448" y="40710"/>
                  </a:cubicBezTo>
                  <a:cubicBezTo>
                    <a:pt x="40202" y="41957"/>
                    <a:pt x="38955" y="43203"/>
                    <a:pt x="36462" y="43203"/>
                  </a:cubicBezTo>
                  <a:cubicBezTo>
                    <a:pt x="30229" y="43203"/>
                    <a:pt x="26489" y="41957"/>
                    <a:pt x="21503" y="40710"/>
                  </a:cubicBezTo>
                  <a:cubicBezTo>
                    <a:pt x="16517" y="39464"/>
                    <a:pt x="12777" y="35724"/>
                    <a:pt x="10284" y="31984"/>
                  </a:cubicBezTo>
                  <a:cubicBezTo>
                    <a:pt x="9038" y="29491"/>
                    <a:pt x="9038" y="28245"/>
                    <a:pt x="10284" y="24505"/>
                  </a:cubicBezTo>
                  <a:cubicBezTo>
                    <a:pt x="10284" y="22012"/>
                    <a:pt x="15270" y="22012"/>
                    <a:pt x="15270" y="23258"/>
                  </a:cubicBezTo>
                  <a:lnTo>
                    <a:pt x="17763" y="24505"/>
                  </a:lnTo>
                  <a:cubicBezTo>
                    <a:pt x="21503" y="26998"/>
                    <a:pt x="23996" y="28245"/>
                    <a:pt x="26489" y="30738"/>
                  </a:cubicBezTo>
                  <a:cubicBezTo>
                    <a:pt x="35216" y="39464"/>
                    <a:pt x="38955" y="46943"/>
                    <a:pt x="37709" y="46943"/>
                  </a:cubicBezTo>
                  <a:cubicBezTo>
                    <a:pt x="36462" y="46943"/>
                    <a:pt x="32722" y="40710"/>
                    <a:pt x="23996" y="33231"/>
                  </a:cubicBezTo>
                  <a:cubicBezTo>
                    <a:pt x="21503" y="31984"/>
                    <a:pt x="19010" y="29491"/>
                    <a:pt x="16517" y="28245"/>
                  </a:cubicBezTo>
                  <a:lnTo>
                    <a:pt x="14024" y="26998"/>
                  </a:lnTo>
                  <a:cubicBezTo>
                    <a:pt x="14024" y="26998"/>
                    <a:pt x="14024" y="26998"/>
                    <a:pt x="14024" y="25751"/>
                  </a:cubicBezTo>
                  <a:cubicBezTo>
                    <a:pt x="14024" y="25751"/>
                    <a:pt x="14024" y="25751"/>
                    <a:pt x="15270" y="25751"/>
                  </a:cubicBezTo>
                  <a:cubicBezTo>
                    <a:pt x="15270" y="25751"/>
                    <a:pt x="15270" y="28245"/>
                    <a:pt x="16517" y="29491"/>
                  </a:cubicBezTo>
                  <a:cubicBezTo>
                    <a:pt x="19010" y="35724"/>
                    <a:pt x="30229" y="38217"/>
                    <a:pt x="36462" y="39464"/>
                  </a:cubicBezTo>
                  <a:cubicBezTo>
                    <a:pt x="37709" y="40710"/>
                    <a:pt x="38955" y="33231"/>
                    <a:pt x="40202" y="30738"/>
                  </a:cubicBezTo>
                  <a:cubicBezTo>
                    <a:pt x="40202" y="26998"/>
                    <a:pt x="40202" y="22012"/>
                    <a:pt x="40202" y="18272"/>
                  </a:cubicBezTo>
                  <a:cubicBezTo>
                    <a:pt x="40202" y="15779"/>
                    <a:pt x="38955" y="15779"/>
                    <a:pt x="38955" y="15779"/>
                  </a:cubicBezTo>
                  <a:cubicBezTo>
                    <a:pt x="37709" y="15779"/>
                    <a:pt x="37709" y="17025"/>
                    <a:pt x="37709" y="18272"/>
                  </a:cubicBezTo>
                  <a:cubicBezTo>
                    <a:pt x="36462" y="20765"/>
                    <a:pt x="36462" y="24505"/>
                    <a:pt x="36462" y="28245"/>
                  </a:cubicBezTo>
                  <a:cubicBezTo>
                    <a:pt x="35216" y="34477"/>
                    <a:pt x="35216" y="39464"/>
                    <a:pt x="35216" y="41957"/>
                  </a:cubicBezTo>
                  <a:cubicBezTo>
                    <a:pt x="35216" y="41957"/>
                    <a:pt x="36462" y="43203"/>
                    <a:pt x="36462" y="4320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C76B9F65-9FC9-434B-9982-7278F59D7D60}"/>
                </a:ext>
              </a:extLst>
            </p:cNvPr>
            <p:cNvSpPr/>
            <p:nvPr/>
          </p:nvSpPr>
          <p:spPr>
            <a:xfrm>
              <a:off x="6268103" y="5157980"/>
              <a:ext cx="112191" cy="24931"/>
            </a:xfrm>
            <a:custGeom>
              <a:avLst/>
              <a:gdLst>
                <a:gd name="connsiteX0" fmla="*/ 110321 w 112191"/>
                <a:gd name="connsiteY0" fmla="*/ 9674 h 24931"/>
                <a:gd name="connsiteX1" fmla="*/ 60459 w 112191"/>
                <a:gd name="connsiteY1" fmla="*/ 19646 h 24931"/>
                <a:gd name="connsiteX2" fmla="*/ 9349 w 112191"/>
                <a:gd name="connsiteY2" fmla="*/ 24633 h 24931"/>
                <a:gd name="connsiteX3" fmla="*/ 59212 w 112191"/>
                <a:gd name="connsiteY3" fmla="*/ 14660 h 24931"/>
                <a:gd name="connsiteX4" fmla="*/ 110321 w 112191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0321" y="9674"/>
                  </a:moveTo>
                  <a:cubicBezTo>
                    <a:pt x="110321" y="10920"/>
                    <a:pt x="87883" y="15906"/>
                    <a:pt x="60459" y="19646"/>
                  </a:cubicBezTo>
                  <a:cubicBezTo>
                    <a:pt x="33034" y="24633"/>
                    <a:pt x="10596" y="25879"/>
                    <a:pt x="9349" y="24633"/>
                  </a:cubicBezTo>
                  <a:cubicBezTo>
                    <a:pt x="9349" y="23386"/>
                    <a:pt x="31788" y="18400"/>
                    <a:pt x="59212" y="14660"/>
                  </a:cubicBezTo>
                  <a:cubicBezTo>
                    <a:pt x="87883" y="10920"/>
                    <a:pt x="110321" y="8427"/>
                    <a:pt x="110321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49E4D75-EC57-4374-8512-DE42442E0800}"/>
                </a:ext>
              </a:extLst>
            </p:cNvPr>
            <p:cNvSpPr/>
            <p:nvPr/>
          </p:nvSpPr>
          <p:spPr>
            <a:xfrm>
              <a:off x="6562293" y="5147815"/>
              <a:ext cx="112191" cy="24931"/>
            </a:xfrm>
            <a:custGeom>
              <a:avLst/>
              <a:gdLst>
                <a:gd name="connsiteX0" fmla="*/ 114061 w 112191"/>
                <a:gd name="connsiteY0" fmla="*/ 9866 h 24931"/>
                <a:gd name="connsiteX1" fmla="*/ 61705 w 112191"/>
                <a:gd name="connsiteY1" fmla="*/ 16098 h 24931"/>
                <a:gd name="connsiteX2" fmla="*/ 9349 w 112191"/>
                <a:gd name="connsiteY2" fmla="*/ 17345 h 24931"/>
                <a:gd name="connsiteX3" fmla="*/ 61705 w 112191"/>
                <a:gd name="connsiteY3" fmla="*/ 11112 h 24931"/>
                <a:gd name="connsiteX4" fmla="*/ 114061 w 112191"/>
                <a:gd name="connsiteY4" fmla="*/ 986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4061" y="9866"/>
                  </a:moveTo>
                  <a:cubicBezTo>
                    <a:pt x="114061" y="11112"/>
                    <a:pt x="90376" y="13605"/>
                    <a:pt x="61705" y="16098"/>
                  </a:cubicBezTo>
                  <a:cubicBezTo>
                    <a:pt x="33034" y="18591"/>
                    <a:pt x="9349" y="18591"/>
                    <a:pt x="9349" y="17345"/>
                  </a:cubicBezTo>
                  <a:cubicBezTo>
                    <a:pt x="9349" y="16098"/>
                    <a:pt x="33034" y="13605"/>
                    <a:pt x="61705" y="11112"/>
                  </a:cubicBezTo>
                  <a:cubicBezTo>
                    <a:pt x="90376" y="9866"/>
                    <a:pt x="114061" y="8619"/>
                    <a:pt x="114061" y="98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75ED2145-52A6-4BD5-8D14-8CF2EC84109A}"/>
                </a:ext>
              </a:extLst>
            </p:cNvPr>
            <p:cNvSpPr/>
            <p:nvPr/>
          </p:nvSpPr>
          <p:spPr>
            <a:xfrm>
              <a:off x="6183268" y="4167241"/>
              <a:ext cx="37397" cy="124657"/>
            </a:xfrm>
            <a:custGeom>
              <a:avLst/>
              <a:gdLst>
                <a:gd name="connsiteX0" fmla="*/ 25623 w 37397"/>
                <a:gd name="connsiteY0" fmla="*/ 9390 h 124656"/>
                <a:gd name="connsiteX1" fmla="*/ 33102 w 37397"/>
                <a:gd name="connsiteY1" fmla="*/ 69226 h 124656"/>
                <a:gd name="connsiteX2" fmla="*/ 9417 w 37397"/>
                <a:gd name="connsiteY2" fmla="*/ 125321 h 124656"/>
                <a:gd name="connsiteX3" fmla="*/ 28116 w 37397"/>
                <a:gd name="connsiteY3" fmla="*/ 67979 h 124656"/>
                <a:gd name="connsiteX4" fmla="*/ 25623 w 37397"/>
                <a:gd name="connsiteY4" fmla="*/ 939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124656">
                  <a:moveTo>
                    <a:pt x="25623" y="9390"/>
                  </a:moveTo>
                  <a:cubicBezTo>
                    <a:pt x="26869" y="8144"/>
                    <a:pt x="38088" y="35568"/>
                    <a:pt x="33102" y="69226"/>
                  </a:cubicBezTo>
                  <a:cubicBezTo>
                    <a:pt x="28116" y="104129"/>
                    <a:pt x="9417" y="126567"/>
                    <a:pt x="9417" y="125321"/>
                  </a:cubicBezTo>
                  <a:cubicBezTo>
                    <a:pt x="8171" y="124075"/>
                    <a:pt x="24376" y="101636"/>
                    <a:pt x="28116" y="67979"/>
                  </a:cubicBezTo>
                  <a:cubicBezTo>
                    <a:pt x="33102" y="36815"/>
                    <a:pt x="24376" y="10637"/>
                    <a:pt x="25623" y="93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9ED14ECF-F582-485A-AFED-9F39F984712A}"/>
                </a:ext>
              </a:extLst>
            </p:cNvPr>
            <p:cNvSpPr/>
            <p:nvPr/>
          </p:nvSpPr>
          <p:spPr>
            <a:xfrm>
              <a:off x="6463502" y="4045083"/>
              <a:ext cx="112191" cy="112191"/>
            </a:xfrm>
            <a:custGeom>
              <a:avLst/>
              <a:gdLst>
                <a:gd name="connsiteX0" fmla="*/ 113126 w 112191"/>
                <a:gd name="connsiteY0" fmla="*/ 106618 h 112191"/>
                <a:gd name="connsiteX1" fmla="*/ 91935 w 112191"/>
                <a:gd name="connsiteY1" fmla="*/ 100385 h 112191"/>
                <a:gd name="connsiteX2" fmla="*/ 48305 w 112191"/>
                <a:gd name="connsiteY2" fmla="*/ 71714 h 112191"/>
                <a:gd name="connsiteX3" fmla="*/ 17140 w 112191"/>
                <a:gd name="connsiteY3" fmla="*/ 29331 h 112191"/>
                <a:gd name="connsiteX4" fmla="*/ 9661 w 112191"/>
                <a:gd name="connsiteY4" fmla="*/ 9385 h 112191"/>
                <a:gd name="connsiteX5" fmla="*/ 52044 w 112191"/>
                <a:gd name="connsiteY5" fmla="*/ 67974 h 112191"/>
                <a:gd name="connsiteX6" fmla="*/ 113126 w 112191"/>
                <a:gd name="connsiteY6" fmla="*/ 10661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191" h="112191">
                  <a:moveTo>
                    <a:pt x="113126" y="106618"/>
                  </a:moveTo>
                  <a:cubicBezTo>
                    <a:pt x="113126" y="106618"/>
                    <a:pt x="104400" y="105371"/>
                    <a:pt x="91935" y="100385"/>
                  </a:cubicBezTo>
                  <a:cubicBezTo>
                    <a:pt x="79469" y="95399"/>
                    <a:pt x="63263" y="85426"/>
                    <a:pt x="48305" y="71714"/>
                  </a:cubicBezTo>
                  <a:cubicBezTo>
                    <a:pt x="33346" y="56755"/>
                    <a:pt x="23373" y="41796"/>
                    <a:pt x="17140" y="29331"/>
                  </a:cubicBezTo>
                  <a:cubicBezTo>
                    <a:pt x="10908" y="16865"/>
                    <a:pt x="8414" y="9385"/>
                    <a:pt x="9661" y="9385"/>
                  </a:cubicBezTo>
                  <a:cubicBezTo>
                    <a:pt x="10908" y="8139"/>
                    <a:pt x="23373" y="39303"/>
                    <a:pt x="52044" y="67974"/>
                  </a:cubicBezTo>
                  <a:cubicBezTo>
                    <a:pt x="81962" y="96645"/>
                    <a:pt x="114373" y="105371"/>
                    <a:pt x="113126" y="10661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31225990-5C34-4D0F-B35C-98627C0A42E9}"/>
                </a:ext>
              </a:extLst>
            </p:cNvPr>
            <p:cNvSpPr/>
            <p:nvPr/>
          </p:nvSpPr>
          <p:spPr>
            <a:xfrm>
              <a:off x="6345135" y="4099968"/>
              <a:ext cx="112191" cy="199451"/>
            </a:xfrm>
            <a:custGeom>
              <a:avLst/>
              <a:gdLst>
                <a:gd name="connsiteX0" fmla="*/ 104343 w 112191"/>
                <a:gd name="connsiteY0" fmla="*/ 175143 h 199450"/>
                <a:gd name="connsiteX1" fmla="*/ 79412 w 112191"/>
                <a:gd name="connsiteY1" fmla="*/ 190102 h 199450"/>
                <a:gd name="connsiteX2" fmla="*/ 78165 w 112191"/>
                <a:gd name="connsiteY2" fmla="*/ 191348 h 199450"/>
                <a:gd name="connsiteX3" fmla="*/ 76918 w 112191"/>
                <a:gd name="connsiteY3" fmla="*/ 190102 h 199450"/>
                <a:gd name="connsiteX4" fmla="*/ 42015 w 112191"/>
                <a:gd name="connsiteY4" fmla="*/ 115308 h 199450"/>
                <a:gd name="connsiteX5" fmla="*/ 15837 w 112191"/>
                <a:gd name="connsiteY5" fmla="*/ 41760 h 199450"/>
                <a:gd name="connsiteX6" fmla="*/ 9604 w 112191"/>
                <a:gd name="connsiteY6" fmla="*/ 18075 h 199450"/>
                <a:gd name="connsiteX7" fmla="*/ 12097 w 112191"/>
                <a:gd name="connsiteY7" fmla="*/ 9349 h 199450"/>
                <a:gd name="connsiteX8" fmla="*/ 12097 w 112191"/>
                <a:gd name="connsiteY8" fmla="*/ 18075 h 199450"/>
                <a:gd name="connsiteX9" fmla="*/ 19576 w 112191"/>
                <a:gd name="connsiteY9" fmla="*/ 40513 h 199450"/>
                <a:gd name="connsiteX10" fmla="*/ 48247 w 112191"/>
                <a:gd name="connsiteY10" fmla="*/ 114061 h 199450"/>
                <a:gd name="connsiteX11" fmla="*/ 81904 w 112191"/>
                <a:gd name="connsiteY11" fmla="*/ 188855 h 199450"/>
                <a:gd name="connsiteX12" fmla="*/ 79412 w 112191"/>
                <a:gd name="connsiteY12" fmla="*/ 187608 h 199450"/>
                <a:gd name="connsiteX13" fmla="*/ 104343 w 112191"/>
                <a:gd name="connsiteY13" fmla="*/ 175143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191" h="199450">
                  <a:moveTo>
                    <a:pt x="104343" y="175143"/>
                  </a:moveTo>
                  <a:cubicBezTo>
                    <a:pt x="104343" y="175143"/>
                    <a:pt x="95617" y="181376"/>
                    <a:pt x="79412" y="190102"/>
                  </a:cubicBezTo>
                  <a:lnTo>
                    <a:pt x="78165" y="191348"/>
                  </a:lnTo>
                  <a:lnTo>
                    <a:pt x="76918" y="190102"/>
                  </a:lnTo>
                  <a:cubicBezTo>
                    <a:pt x="66946" y="172650"/>
                    <a:pt x="54480" y="146472"/>
                    <a:pt x="42015" y="115308"/>
                  </a:cubicBezTo>
                  <a:cubicBezTo>
                    <a:pt x="30795" y="86637"/>
                    <a:pt x="20823" y="60459"/>
                    <a:pt x="15837" y="41760"/>
                  </a:cubicBezTo>
                  <a:cubicBezTo>
                    <a:pt x="13343" y="31787"/>
                    <a:pt x="10850" y="24308"/>
                    <a:pt x="9604" y="18075"/>
                  </a:cubicBezTo>
                  <a:cubicBezTo>
                    <a:pt x="8357" y="11843"/>
                    <a:pt x="12097" y="9349"/>
                    <a:pt x="12097" y="9349"/>
                  </a:cubicBezTo>
                  <a:cubicBezTo>
                    <a:pt x="12097" y="9349"/>
                    <a:pt x="10850" y="11843"/>
                    <a:pt x="12097" y="18075"/>
                  </a:cubicBezTo>
                  <a:cubicBezTo>
                    <a:pt x="13343" y="23062"/>
                    <a:pt x="17083" y="30541"/>
                    <a:pt x="19576" y="40513"/>
                  </a:cubicBezTo>
                  <a:cubicBezTo>
                    <a:pt x="25809" y="59212"/>
                    <a:pt x="35782" y="85390"/>
                    <a:pt x="48247" y="114061"/>
                  </a:cubicBezTo>
                  <a:cubicBezTo>
                    <a:pt x="60713" y="143978"/>
                    <a:pt x="73179" y="170156"/>
                    <a:pt x="81904" y="188855"/>
                  </a:cubicBezTo>
                  <a:lnTo>
                    <a:pt x="79412" y="187608"/>
                  </a:lnTo>
                  <a:cubicBezTo>
                    <a:pt x="94370" y="178883"/>
                    <a:pt x="104343" y="173896"/>
                    <a:pt x="104343" y="17514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CFCF502F-9A67-4FFB-81E7-B79E1DA432F0}"/>
                </a:ext>
              </a:extLst>
            </p:cNvPr>
            <p:cNvSpPr/>
            <p:nvPr/>
          </p:nvSpPr>
          <p:spPr>
            <a:xfrm>
              <a:off x="6423924" y="4102461"/>
              <a:ext cx="224382" cy="1059583"/>
            </a:xfrm>
            <a:custGeom>
              <a:avLst/>
              <a:gdLst>
                <a:gd name="connsiteX0" fmla="*/ 200074 w 224382"/>
                <a:gd name="connsiteY0" fmla="*/ 1058960 h 1059583"/>
                <a:gd name="connsiteX1" fmla="*/ 200074 w 224382"/>
                <a:gd name="connsiteY1" fmla="*/ 1047741 h 1059583"/>
                <a:gd name="connsiteX2" fmla="*/ 200074 w 224382"/>
                <a:gd name="connsiteY2" fmla="*/ 1015330 h 1059583"/>
                <a:gd name="connsiteX3" fmla="*/ 202567 w 224382"/>
                <a:gd name="connsiteY3" fmla="*/ 896906 h 1059583"/>
                <a:gd name="connsiteX4" fmla="*/ 211293 w 224382"/>
                <a:gd name="connsiteY4" fmla="*/ 507977 h 1059583"/>
                <a:gd name="connsiteX5" fmla="*/ 171403 w 224382"/>
                <a:gd name="connsiteY5" fmla="*/ 299800 h 1059583"/>
                <a:gd name="connsiteX6" fmla="*/ 97856 w 224382"/>
                <a:gd name="connsiteY6" fmla="*/ 142732 h 1059583"/>
                <a:gd name="connsiteX7" fmla="*/ 34281 w 224382"/>
                <a:gd name="connsiteY7" fmla="*/ 44253 h 1059583"/>
                <a:gd name="connsiteX8" fmla="*/ 15582 w 224382"/>
                <a:gd name="connsiteY8" fmla="*/ 18075 h 1059583"/>
                <a:gd name="connsiteX9" fmla="*/ 9349 w 224382"/>
                <a:gd name="connsiteY9" fmla="*/ 9349 h 1059583"/>
                <a:gd name="connsiteX10" fmla="*/ 16829 w 224382"/>
                <a:gd name="connsiteY10" fmla="*/ 18075 h 1059583"/>
                <a:gd name="connsiteX11" fmla="*/ 36774 w 224382"/>
                <a:gd name="connsiteY11" fmla="*/ 43006 h 1059583"/>
                <a:gd name="connsiteX12" fmla="*/ 101596 w 224382"/>
                <a:gd name="connsiteY12" fmla="*/ 141485 h 1059583"/>
                <a:gd name="connsiteX13" fmla="*/ 176390 w 224382"/>
                <a:gd name="connsiteY13" fmla="*/ 299800 h 1059583"/>
                <a:gd name="connsiteX14" fmla="*/ 217526 w 224382"/>
                <a:gd name="connsiteY14" fmla="*/ 509223 h 1059583"/>
                <a:gd name="connsiteX15" fmla="*/ 207554 w 224382"/>
                <a:gd name="connsiteY15" fmla="*/ 898152 h 1059583"/>
                <a:gd name="connsiteX16" fmla="*/ 203814 w 224382"/>
                <a:gd name="connsiteY16" fmla="*/ 1015330 h 1059583"/>
                <a:gd name="connsiteX17" fmla="*/ 202567 w 224382"/>
                <a:gd name="connsiteY17" fmla="*/ 1047741 h 1059583"/>
                <a:gd name="connsiteX18" fmla="*/ 200074 w 224382"/>
                <a:gd name="connsiteY18" fmla="*/ 1058960 h 1059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4382" h="1059583">
                  <a:moveTo>
                    <a:pt x="200074" y="1058960"/>
                  </a:moveTo>
                  <a:cubicBezTo>
                    <a:pt x="200074" y="1058960"/>
                    <a:pt x="200074" y="1055220"/>
                    <a:pt x="200074" y="1047741"/>
                  </a:cubicBezTo>
                  <a:cubicBezTo>
                    <a:pt x="200074" y="1039014"/>
                    <a:pt x="200074" y="1027795"/>
                    <a:pt x="200074" y="1015330"/>
                  </a:cubicBezTo>
                  <a:cubicBezTo>
                    <a:pt x="200074" y="985412"/>
                    <a:pt x="201321" y="945522"/>
                    <a:pt x="202567" y="896906"/>
                  </a:cubicBezTo>
                  <a:cubicBezTo>
                    <a:pt x="205061" y="795934"/>
                    <a:pt x="207554" y="658811"/>
                    <a:pt x="211293" y="507977"/>
                  </a:cubicBezTo>
                  <a:cubicBezTo>
                    <a:pt x="210047" y="431936"/>
                    <a:pt x="192595" y="360881"/>
                    <a:pt x="171403" y="299800"/>
                  </a:cubicBezTo>
                  <a:cubicBezTo>
                    <a:pt x="148965" y="237471"/>
                    <a:pt x="121540" y="185115"/>
                    <a:pt x="97856" y="142732"/>
                  </a:cubicBezTo>
                  <a:cubicBezTo>
                    <a:pt x="72924" y="99102"/>
                    <a:pt x="50486" y="66691"/>
                    <a:pt x="34281" y="44253"/>
                  </a:cubicBezTo>
                  <a:cubicBezTo>
                    <a:pt x="26802" y="34281"/>
                    <a:pt x="20569" y="25554"/>
                    <a:pt x="15582" y="18075"/>
                  </a:cubicBezTo>
                  <a:cubicBezTo>
                    <a:pt x="10596" y="11842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6829" y="18075"/>
                  </a:cubicBezTo>
                  <a:cubicBezTo>
                    <a:pt x="21815" y="24308"/>
                    <a:pt x="28048" y="31787"/>
                    <a:pt x="36774" y="43006"/>
                  </a:cubicBezTo>
                  <a:cubicBezTo>
                    <a:pt x="52979" y="65445"/>
                    <a:pt x="76664" y="97855"/>
                    <a:pt x="101596" y="141485"/>
                  </a:cubicBezTo>
                  <a:cubicBezTo>
                    <a:pt x="126527" y="183869"/>
                    <a:pt x="153951" y="237471"/>
                    <a:pt x="176390" y="299800"/>
                  </a:cubicBezTo>
                  <a:cubicBezTo>
                    <a:pt x="198828" y="362128"/>
                    <a:pt x="216280" y="433182"/>
                    <a:pt x="217526" y="509223"/>
                  </a:cubicBezTo>
                  <a:cubicBezTo>
                    <a:pt x="213787" y="660058"/>
                    <a:pt x="210047" y="795934"/>
                    <a:pt x="207554" y="898152"/>
                  </a:cubicBezTo>
                  <a:cubicBezTo>
                    <a:pt x="206307" y="946768"/>
                    <a:pt x="205061" y="986659"/>
                    <a:pt x="203814" y="1015330"/>
                  </a:cubicBezTo>
                  <a:cubicBezTo>
                    <a:pt x="203814" y="1027795"/>
                    <a:pt x="202567" y="1039014"/>
                    <a:pt x="202567" y="1047741"/>
                  </a:cubicBezTo>
                  <a:cubicBezTo>
                    <a:pt x="201321" y="1055220"/>
                    <a:pt x="200074" y="1058960"/>
                    <a:pt x="200074" y="105896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77973734-71BD-4CCD-ACBB-8984185E7DDB}"/>
                </a:ext>
              </a:extLst>
            </p:cNvPr>
            <p:cNvSpPr/>
            <p:nvPr/>
          </p:nvSpPr>
          <p:spPr>
            <a:xfrm>
              <a:off x="6261870" y="4163543"/>
              <a:ext cx="174520" cy="1022186"/>
            </a:xfrm>
            <a:custGeom>
              <a:avLst/>
              <a:gdLst>
                <a:gd name="connsiteX0" fmla="*/ 66691 w 174519"/>
                <a:gd name="connsiteY0" fmla="*/ 1016576 h 1022185"/>
                <a:gd name="connsiteX1" fmla="*/ 67938 w 174519"/>
                <a:gd name="connsiteY1" fmla="*/ 1006604 h 1022185"/>
                <a:gd name="connsiteX2" fmla="*/ 74171 w 174519"/>
                <a:gd name="connsiteY2" fmla="*/ 976686 h 1022185"/>
                <a:gd name="connsiteX3" fmla="*/ 97856 w 174519"/>
                <a:gd name="connsiteY3" fmla="*/ 866988 h 1022185"/>
                <a:gd name="connsiteX4" fmla="*/ 131513 w 174519"/>
                <a:gd name="connsiteY4" fmla="*/ 703688 h 1022185"/>
                <a:gd name="connsiteX5" fmla="*/ 150212 w 174519"/>
                <a:gd name="connsiteY5" fmla="*/ 607702 h 1022185"/>
                <a:gd name="connsiteX6" fmla="*/ 165170 w 174519"/>
                <a:gd name="connsiteY6" fmla="*/ 504237 h 1022185"/>
                <a:gd name="connsiteX7" fmla="*/ 132760 w 174519"/>
                <a:gd name="connsiteY7" fmla="*/ 304786 h 1022185"/>
                <a:gd name="connsiteX8" fmla="*/ 75418 w 174519"/>
                <a:gd name="connsiteY8" fmla="*/ 148965 h 1022185"/>
                <a:gd name="connsiteX9" fmla="*/ 28048 w 174519"/>
                <a:gd name="connsiteY9" fmla="*/ 46746 h 1022185"/>
                <a:gd name="connsiteX10" fmla="*/ 14336 w 174519"/>
                <a:gd name="connsiteY10" fmla="*/ 19322 h 1022185"/>
                <a:gd name="connsiteX11" fmla="*/ 9349 w 174519"/>
                <a:gd name="connsiteY11" fmla="*/ 9349 h 1022185"/>
                <a:gd name="connsiteX12" fmla="*/ 14336 w 174519"/>
                <a:gd name="connsiteY12" fmla="*/ 18075 h 1022185"/>
                <a:gd name="connsiteX13" fmla="*/ 29294 w 174519"/>
                <a:gd name="connsiteY13" fmla="*/ 45500 h 1022185"/>
                <a:gd name="connsiteX14" fmla="*/ 77911 w 174519"/>
                <a:gd name="connsiteY14" fmla="*/ 146472 h 1022185"/>
                <a:gd name="connsiteX15" fmla="*/ 136499 w 174519"/>
                <a:gd name="connsiteY15" fmla="*/ 302293 h 1022185"/>
                <a:gd name="connsiteX16" fmla="*/ 168910 w 174519"/>
                <a:gd name="connsiteY16" fmla="*/ 502990 h 1022185"/>
                <a:gd name="connsiteX17" fmla="*/ 153951 w 174519"/>
                <a:gd name="connsiteY17" fmla="*/ 607702 h 1022185"/>
                <a:gd name="connsiteX18" fmla="*/ 135253 w 174519"/>
                <a:gd name="connsiteY18" fmla="*/ 703688 h 1022185"/>
                <a:gd name="connsiteX19" fmla="*/ 100349 w 174519"/>
                <a:gd name="connsiteY19" fmla="*/ 866988 h 1022185"/>
                <a:gd name="connsiteX20" fmla="*/ 75418 w 174519"/>
                <a:gd name="connsiteY20" fmla="*/ 976686 h 1022185"/>
                <a:gd name="connsiteX21" fmla="*/ 67938 w 174519"/>
                <a:gd name="connsiteY21" fmla="*/ 1006604 h 1022185"/>
                <a:gd name="connsiteX22" fmla="*/ 66691 w 174519"/>
                <a:gd name="connsiteY22" fmla="*/ 1016576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4519" h="1022185">
                  <a:moveTo>
                    <a:pt x="66691" y="1016576"/>
                  </a:moveTo>
                  <a:cubicBezTo>
                    <a:pt x="66691" y="1016576"/>
                    <a:pt x="66691" y="1012837"/>
                    <a:pt x="67938" y="1006604"/>
                  </a:cubicBezTo>
                  <a:cubicBezTo>
                    <a:pt x="69185" y="997878"/>
                    <a:pt x="71678" y="987905"/>
                    <a:pt x="74171" y="976686"/>
                  </a:cubicBezTo>
                  <a:cubicBezTo>
                    <a:pt x="80404" y="949262"/>
                    <a:pt x="87883" y="911865"/>
                    <a:pt x="97856" y="866988"/>
                  </a:cubicBezTo>
                  <a:cubicBezTo>
                    <a:pt x="107828" y="819619"/>
                    <a:pt x="119048" y="764770"/>
                    <a:pt x="131513" y="703688"/>
                  </a:cubicBezTo>
                  <a:cubicBezTo>
                    <a:pt x="137746" y="672523"/>
                    <a:pt x="143979" y="640113"/>
                    <a:pt x="150212" y="607702"/>
                  </a:cubicBezTo>
                  <a:cubicBezTo>
                    <a:pt x="156445" y="574045"/>
                    <a:pt x="162677" y="539141"/>
                    <a:pt x="165170" y="504237"/>
                  </a:cubicBezTo>
                  <a:cubicBezTo>
                    <a:pt x="166417" y="431936"/>
                    <a:pt x="150212" y="364621"/>
                    <a:pt x="132760" y="304786"/>
                  </a:cubicBezTo>
                  <a:cubicBezTo>
                    <a:pt x="115308" y="244951"/>
                    <a:pt x="94116" y="192595"/>
                    <a:pt x="75418" y="148965"/>
                  </a:cubicBezTo>
                  <a:cubicBezTo>
                    <a:pt x="56719" y="105335"/>
                    <a:pt x="40513" y="70431"/>
                    <a:pt x="28048" y="46746"/>
                  </a:cubicBezTo>
                  <a:cubicBezTo>
                    <a:pt x="23062" y="35527"/>
                    <a:pt x="18075" y="26801"/>
                    <a:pt x="14336" y="19322"/>
                  </a:cubicBezTo>
                  <a:cubicBezTo>
                    <a:pt x="10596" y="13089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4336" y="18075"/>
                  </a:cubicBezTo>
                  <a:cubicBezTo>
                    <a:pt x="18075" y="25554"/>
                    <a:pt x="23062" y="34281"/>
                    <a:pt x="29294" y="45500"/>
                  </a:cubicBezTo>
                  <a:cubicBezTo>
                    <a:pt x="41760" y="69184"/>
                    <a:pt x="59212" y="102842"/>
                    <a:pt x="77911" y="146472"/>
                  </a:cubicBezTo>
                  <a:cubicBezTo>
                    <a:pt x="96609" y="190102"/>
                    <a:pt x="117801" y="242457"/>
                    <a:pt x="136499" y="302293"/>
                  </a:cubicBezTo>
                  <a:cubicBezTo>
                    <a:pt x="153951" y="362128"/>
                    <a:pt x="170157" y="430689"/>
                    <a:pt x="168910" y="502990"/>
                  </a:cubicBezTo>
                  <a:cubicBezTo>
                    <a:pt x="166417" y="539141"/>
                    <a:pt x="160184" y="574045"/>
                    <a:pt x="153951" y="607702"/>
                  </a:cubicBezTo>
                  <a:cubicBezTo>
                    <a:pt x="147718" y="641359"/>
                    <a:pt x="141486" y="673770"/>
                    <a:pt x="135253" y="703688"/>
                  </a:cubicBezTo>
                  <a:cubicBezTo>
                    <a:pt x="122787" y="764770"/>
                    <a:pt x="110321" y="819619"/>
                    <a:pt x="100349" y="866988"/>
                  </a:cubicBezTo>
                  <a:cubicBezTo>
                    <a:pt x="90376" y="911865"/>
                    <a:pt x="81650" y="948015"/>
                    <a:pt x="75418" y="976686"/>
                  </a:cubicBezTo>
                  <a:cubicBezTo>
                    <a:pt x="72924" y="987905"/>
                    <a:pt x="70431" y="997878"/>
                    <a:pt x="67938" y="1006604"/>
                  </a:cubicBezTo>
                  <a:cubicBezTo>
                    <a:pt x="67938" y="1012837"/>
                    <a:pt x="66691" y="1016576"/>
                    <a:pt x="66691" y="10165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9591A10E-FA11-47DB-8492-8EC7BA8B6257}"/>
                </a:ext>
              </a:extLst>
            </p:cNvPr>
            <p:cNvSpPr/>
            <p:nvPr/>
          </p:nvSpPr>
          <p:spPr>
            <a:xfrm>
              <a:off x="6133473" y="3626272"/>
              <a:ext cx="361505" cy="186985"/>
            </a:xfrm>
            <a:custGeom>
              <a:avLst/>
              <a:gdLst>
                <a:gd name="connsiteX0" fmla="*/ 9349 w 361504"/>
                <a:gd name="connsiteY0" fmla="*/ 9349 h 186985"/>
                <a:gd name="connsiteX1" fmla="*/ 347169 w 361504"/>
                <a:gd name="connsiteY1" fmla="*/ 177636 h 186985"/>
                <a:gd name="connsiteX2" fmla="*/ 355895 w 361504"/>
                <a:gd name="connsiteY2" fmla="*/ 176389 h 186985"/>
                <a:gd name="connsiteX3" fmla="*/ 353402 w 361504"/>
                <a:gd name="connsiteY3" fmla="*/ 147718 h 186985"/>
                <a:gd name="connsiteX4" fmla="*/ 9349 w 361504"/>
                <a:gd name="connsiteY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504" h="186985">
                  <a:moveTo>
                    <a:pt x="9349" y="9349"/>
                  </a:moveTo>
                  <a:cubicBezTo>
                    <a:pt x="9349" y="9349"/>
                    <a:pt x="34281" y="208800"/>
                    <a:pt x="347169" y="177636"/>
                  </a:cubicBezTo>
                  <a:lnTo>
                    <a:pt x="355895" y="176389"/>
                  </a:lnTo>
                  <a:lnTo>
                    <a:pt x="353402" y="147718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64683622-05DD-4290-A082-070EB6B6F55C}"/>
                </a:ext>
              </a:extLst>
            </p:cNvPr>
            <p:cNvSpPr/>
            <p:nvPr/>
          </p:nvSpPr>
          <p:spPr>
            <a:xfrm>
              <a:off x="6116021" y="3809517"/>
              <a:ext cx="324108" cy="149588"/>
            </a:xfrm>
            <a:custGeom>
              <a:avLst/>
              <a:gdLst>
                <a:gd name="connsiteX0" fmla="*/ 9349 w 324107"/>
                <a:gd name="connsiteY0" fmla="*/ 117800 h 149588"/>
                <a:gd name="connsiteX1" fmla="*/ 86636 w 324107"/>
                <a:gd name="connsiteY1" fmla="*/ 138992 h 149588"/>
                <a:gd name="connsiteX2" fmla="*/ 146472 w 324107"/>
                <a:gd name="connsiteY2" fmla="*/ 138992 h 149588"/>
                <a:gd name="connsiteX3" fmla="*/ 320991 w 324107"/>
                <a:gd name="connsiteY3" fmla="*/ 9349 h 149588"/>
                <a:gd name="connsiteX4" fmla="*/ 101595 w 324107"/>
                <a:gd name="connsiteY4" fmla="*/ 132759 h 149588"/>
                <a:gd name="connsiteX5" fmla="*/ 9349 w 324107"/>
                <a:gd name="connsiteY5" fmla="*/ 117800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107" h="149588">
                  <a:moveTo>
                    <a:pt x="9349" y="117800"/>
                  </a:moveTo>
                  <a:lnTo>
                    <a:pt x="86636" y="138992"/>
                  </a:lnTo>
                  <a:cubicBezTo>
                    <a:pt x="106581" y="143978"/>
                    <a:pt x="126527" y="143978"/>
                    <a:pt x="146472" y="138992"/>
                  </a:cubicBezTo>
                  <a:cubicBezTo>
                    <a:pt x="200074" y="124033"/>
                    <a:pt x="303539" y="85390"/>
                    <a:pt x="320991" y="9349"/>
                  </a:cubicBezTo>
                  <a:cubicBezTo>
                    <a:pt x="266142" y="72924"/>
                    <a:pt x="188855" y="107828"/>
                    <a:pt x="101595" y="132759"/>
                  </a:cubicBezTo>
                  <a:lnTo>
                    <a:pt x="9349" y="117800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FE777DBA-3DBF-43D5-87DF-6B0E7500195F}"/>
                </a:ext>
              </a:extLst>
            </p:cNvPr>
            <p:cNvSpPr/>
            <p:nvPr/>
          </p:nvSpPr>
          <p:spPr>
            <a:xfrm>
              <a:off x="6364088" y="4097474"/>
              <a:ext cx="37397" cy="37397"/>
            </a:xfrm>
            <a:custGeom>
              <a:avLst/>
              <a:gdLst>
                <a:gd name="connsiteX0" fmla="*/ 33034 w 37397"/>
                <a:gd name="connsiteY0" fmla="*/ 20569 h 37397"/>
                <a:gd name="connsiteX1" fmla="*/ 21815 w 37397"/>
                <a:gd name="connsiteY1" fmla="*/ 33034 h 37397"/>
                <a:gd name="connsiteX2" fmla="*/ 9349 w 37397"/>
                <a:gd name="connsiteY2" fmla="*/ 21815 h 37397"/>
                <a:gd name="connsiteX3" fmla="*/ 20568 w 37397"/>
                <a:gd name="connsiteY3" fmla="*/ 9349 h 37397"/>
                <a:gd name="connsiteX4" fmla="*/ 33034 w 37397"/>
                <a:gd name="connsiteY4" fmla="*/ 20569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3034" y="20569"/>
                  </a:moveTo>
                  <a:cubicBezTo>
                    <a:pt x="33034" y="26802"/>
                    <a:pt x="28048" y="33034"/>
                    <a:pt x="21815" y="33034"/>
                  </a:cubicBezTo>
                  <a:cubicBezTo>
                    <a:pt x="15582" y="33034"/>
                    <a:pt x="9349" y="28048"/>
                    <a:pt x="9349" y="21815"/>
                  </a:cubicBezTo>
                  <a:cubicBezTo>
                    <a:pt x="9349" y="15582"/>
                    <a:pt x="14335" y="9349"/>
                    <a:pt x="20568" y="9349"/>
                  </a:cubicBezTo>
                  <a:cubicBezTo>
                    <a:pt x="26801" y="9349"/>
                    <a:pt x="31787" y="14336"/>
                    <a:pt x="33034" y="2056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BC197F93-C52D-4D1B-A19B-1F3B778994DB}"/>
                </a:ext>
              </a:extLst>
            </p:cNvPr>
            <p:cNvSpPr/>
            <p:nvPr/>
          </p:nvSpPr>
          <p:spPr>
            <a:xfrm>
              <a:off x="10315710" y="3753422"/>
              <a:ext cx="37397" cy="74794"/>
            </a:xfrm>
            <a:custGeom>
              <a:avLst/>
              <a:gdLst>
                <a:gd name="connsiteX0" fmla="*/ 9349 w 37397"/>
                <a:gd name="connsiteY0" fmla="*/ 66691 h 74794"/>
                <a:gd name="connsiteX1" fmla="*/ 33034 w 37397"/>
                <a:gd name="connsiteY1" fmla="*/ 30541 h 74794"/>
                <a:gd name="connsiteX2" fmla="*/ 9349 w 37397"/>
                <a:gd name="connsiteY2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97" h="74794">
                  <a:moveTo>
                    <a:pt x="9349" y="66691"/>
                  </a:moveTo>
                  <a:cubicBezTo>
                    <a:pt x="13089" y="52979"/>
                    <a:pt x="20569" y="39267"/>
                    <a:pt x="33034" y="30541"/>
                  </a:cubicBezTo>
                  <a:cubicBezTo>
                    <a:pt x="25554" y="23061"/>
                    <a:pt x="18075" y="15582"/>
                    <a:pt x="9349" y="934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D6A2385-0925-445D-844D-8BDA12411DEA}"/>
                </a:ext>
              </a:extLst>
            </p:cNvPr>
            <p:cNvSpPr/>
            <p:nvPr/>
          </p:nvSpPr>
          <p:spPr>
            <a:xfrm>
              <a:off x="10208505" y="3734723"/>
              <a:ext cx="124657" cy="137123"/>
            </a:xfrm>
            <a:custGeom>
              <a:avLst/>
              <a:gdLst>
                <a:gd name="connsiteX0" fmla="*/ 119047 w 124656"/>
                <a:gd name="connsiteY0" fmla="*/ 18075 h 137122"/>
                <a:gd name="connsiteX1" fmla="*/ 85390 w 124656"/>
                <a:gd name="connsiteY1" fmla="*/ 14336 h 137122"/>
                <a:gd name="connsiteX2" fmla="*/ 41760 w 124656"/>
                <a:gd name="connsiteY2" fmla="*/ 10596 h 137122"/>
                <a:gd name="connsiteX3" fmla="*/ 36773 w 124656"/>
                <a:gd name="connsiteY3" fmla="*/ 11842 h 137122"/>
                <a:gd name="connsiteX4" fmla="*/ 40513 w 124656"/>
                <a:gd name="connsiteY4" fmla="*/ 25555 h 137122"/>
                <a:gd name="connsiteX5" fmla="*/ 57965 w 124656"/>
                <a:gd name="connsiteY5" fmla="*/ 30541 h 137122"/>
                <a:gd name="connsiteX6" fmla="*/ 60458 w 124656"/>
                <a:gd name="connsiteY6" fmla="*/ 33034 h 137122"/>
                <a:gd name="connsiteX7" fmla="*/ 55472 w 124656"/>
                <a:gd name="connsiteY7" fmla="*/ 40514 h 137122"/>
                <a:gd name="connsiteX8" fmla="*/ 14335 w 124656"/>
                <a:gd name="connsiteY8" fmla="*/ 81650 h 137122"/>
                <a:gd name="connsiteX9" fmla="*/ 9349 w 124656"/>
                <a:gd name="connsiteY9" fmla="*/ 91623 h 137122"/>
                <a:gd name="connsiteX10" fmla="*/ 14335 w 124656"/>
                <a:gd name="connsiteY10" fmla="*/ 101595 h 137122"/>
                <a:gd name="connsiteX11" fmla="*/ 41760 w 124656"/>
                <a:gd name="connsiteY11" fmla="*/ 90376 h 137122"/>
                <a:gd name="connsiteX12" fmla="*/ 36773 w 124656"/>
                <a:gd name="connsiteY12" fmla="*/ 115308 h 137122"/>
                <a:gd name="connsiteX13" fmla="*/ 39266 w 124656"/>
                <a:gd name="connsiteY13" fmla="*/ 122787 h 137122"/>
                <a:gd name="connsiteX14" fmla="*/ 43006 w 124656"/>
                <a:gd name="connsiteY14" fmla="*/ 121541 h 137122"/>
                <a:gd name="connsiteX15" fmla="*/ 62952 w 124656"/>
                <a:gd name="connsiteY15" fmla="*/ 100349 h 137122"/>
                <a:gd name="connsiteX16" fmla="*/ 62952 w 124656"/>
                <a:gd name="connsiteY16" fmla="*/ 125280 h 137122"/>
                <a:gd name="connsiteX17" fmla="*/ 72924 w 124656"/>
                <a:gd name="connsiteY17" fmla="*/ 136499 h 137122"/>
                <a:gd name="connsiteX18" fmla="*/ 85390 w 124656"/>
                <a:gd name="connsiteY18" fmla="*/ 111568 h 137122"/>
                <a:gd name="connsiteX19" fmla="*/ 89129 w 124656"/>
                <a:gd name="connsiteY19" fmla="*/ 135252 h 137122"/>
                <a:gd name="connsiteX20" fmla="*/ 106581 w 124656"/>
                <a:gd name="connsiteY20" fmla="*/ 121541 h 137122"/>
                <a:gd name="connsiteX21" fmla="*/ 117800 w 124656"/>
                <a:gd name="connsiteY21" fmla="*/ 816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4656" h="137122">
                  <a:moveTo>
                    <a:pt x="119047" y="18075"/>
                  </a:moveTo>
                  <a:cubicBezTo>
                    <a:pt x="109075" y="24308"/>
                    <a:pt x="96609" y="18075"/>
                    <a:pt x="85390" y="14336"/>
                  </a:cubicBezTo>
                  <a:cubicBezTo>
                    <a:pt x="71678" y="9349"/>
                    <a:pt x="56719" y="8103"/>
                    <a:pt x="41760" y="10596"/>
                  </a:cubicBezTo>
                  <a:cubicBezTo>
                    <a:pt x="40513" y="10596"/>
                    <a:pt x="38020" y="10596"/>
                    <a:pt x="36773" y="11842"/>
                  </a:cubicBezTo>
                  <a:cubicBezTo>
                    <a:pt x="31787" y="15582"/>
                    <a:pt x="35527" y="23061"/>
                    <a:pt x="40513" y="25555"/>
                  </a:cubicBezTo>
                  <a:cubicBezTo>
                    <a:pt x="45499" y="28048"/>
                    <a:pt x="51732" y="28048"/>
                    <a:pt x="57965" y="30541"/>
                  </a:cubicBezTo>
                  <a:cubicBezTo>
                    <a:pt x="59212" y="31787"/>
                    <a:pt x="60458" y="31787"/>
                    <a:pt x="60458" y="33034"/>
                  </a:cubicBezTo>
                  <a:cubicBezTo>
                    <a:pt x="61705" y="35527"/>
                    <a:pt x="57965" y="39267"/>
                    <a:pt x="55472" y="40514"/>
                  </a:cubicBezTo>
                  <a:cubicBezTo>
                    <a:pt x="39266" y="51733"/>
                    <a:pt x="25554" y="66691"/>
                    <a:pt x="14335" y="81650"/>
                  </a:cubicBezTo>
                  <a:cubicBezTo>
                    <a:pt x="11842" y="84143"/>
                    <a:pt x="10596" y="87883"/>
                    <a:pt x="9349" y="91623"/>
                  </a:cubicBezTo>
                  <a:cubicBezTo>
                    <a:pt x="9349" y="95363"/>
                    <a:pt x="10596" y="99102"/>
                    <a:pt x="14335" y="101595"/>
                  </a:cubicBezTo>
                  <a:cubicBezTo>
                    <a:pt x="21815" y="105335"/>
                    <a:pt x="33034" y="87883"/>
                    <a:pt x="41760" y="90376"/>
                  </a:cubicBezTo>
                  <a:cubicBezTo>
                    <a:pt x="40513" y="96609"/>
                    <a:pt x="36773" y="107828"/>
                    <a:pt x="36773" y="115308"/>
                  </a:cubicBezTo>
                  <a:cubicBezTo>
                    <a:pt x="36773" y="117801"/>
                    <a:pt x="36773" y="121541"/>
                    <a:pt x="39266" y="122787"/>
                  </a:cubicBezTo>
                  <a:cubicBezTo>
                    <a:pt x="40513" y="122787"/>
                    <a:pt x="41760" y="122787"/>
                    <a:pt x="43006" y="121541"/>
                  </a:cubicBezTo>
                  <a:cubicBezTo>
                    <a:pt x="49239" y="117801"/>
                    <a:pt x="56719" y="105335"/>
                    <a:pt x="62952" y="100349"/>
                  </a:cubicBezTo>
                  <a:cubicBezTo>
                    <a:pt x="65445" y="105335"/>
                    <a:pt x="61705" y="120294"/>
                    <a:pt x="62952" y="125280"/>
                  </a:cubicBezTo>
                  <a:cubicBezTo>
                    <a:pt x="62952" y="130266"/>
                    <a:pt x="67937" y="137746"/>
                    <a:pt x="72924" y="136499"/>
                  </a:cubicBezTo>
                  <a:cubicBezTo>
                    <a:pt x="80403" y="135252"/>
                    <a:pt x="80403" y="117801"/>
                    <a:pt x="85390" y="111568"/>
                  </a:cubicBezTo>
                  <a:cubicBezTo>
                    <a:pt x="90376" y="107828"/>
                    <a:pt x="85390" y="122787"/>
                    <a:pt x="89129" y="135252"/>
                  </a:cubicBezTo>
                  <a:cubicBezTo>
                    <a:pt x="89129" y="135252"/>
                    <a:pt x="97855" y="147718"/>
                    <a:pt x="106581" y="121541"/>
                  </a:cubicBezTo>
                  <a:cubicBezTo>
                    <a:pt x="115308" y="95363"/>
                    <a:pt x="117800" y="81650"/>
                    <a:pt x="117800" y="81650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92C26386-2B51-44DD-8004-D58110A7401B}"/>
                </a:ext>
              </a:extLst>
            </p:cNvPr>
            <p:cNvSpPr/>
            <p:nvPr/>
          </p:nvSpPr>
          <p:spPr>
            <a:xfrm>
              <a:off x="10334216" y="3034152"/>
              <a:ext cx="87260" cy="137123"/>
            </a:xfrm>
            <a:custGeom>
              <a:avLst/>
              <a:gdLst>
                <a:gd name="connsiteX0" fmla="*/ 43200 w 87259"/>
                <a:gd name="connsiteY0" fmla="*/ 131513 h 137122"/>
                <a:gd name="connsiteX1" fmla="*/ 10788 w 87259"/>
                <a:gd name="connsiteY1" fmla="*/ 64198 h 137122"/>
                <a:gd name="connsiteX2" fmla="*/ 10788 w 87259"/>
                <a:gd name="connsiteY2" fmla="*/ 54226 h 137122"/>
                <a:gd name="connsiteX3" fmla="*/ 19514 w 87259"/>
                <a:gd name="connsiteY3" fmla="*/ 56719 h 137122"/>
                <a:gd name="connsiteX4" fmla="*/ 26994 w 87259"/>
                <a:gd name="connsiteY4" fmla="*/ 62952 h 137122"/>
                <a:gd name="connsiteX5" fmla="*/ 25747 w 87259"/>
                <a:gd name="connsiteY5" fmla="*/ 34281 h 137122"/>
                <a:gd name="connsiteX6" fmla="*/ 34473 w 87259"/>
                <a:gd name="connsiteY6" fmla="*/ 9349 h 137122"/>
                <a:gd name="connsiteX7" fmla="*/ 54418 w 87259"/>
                <a:gd name="connsiteY7" fmla="*/ 57965 h 137122"/>
                <a:gd name="connsiteX8" fmla="*/ 53172 w 87259"/>
                <a:gd name="connsiteY8" fmla="*/ 26801 h 137122"/>
                <a:gd name="connsiteX9" fmla="*/ 54418 w 87259"/>
                <a:gd name="connsiteY9" fmla="*/ 18075 h 137122"/>
                <a:gd name="connsiteX10" fmla="*/ 60651 w 87259"/>
                <a:gd name="connsiteY10" fmla="*/ 15582 h 137122"/>
                <a:gd name="connsiteX11" fmla="*/ 63144 w 87259"/>
                <a:gd name="connsiteY11" fmla="*/ 24308 h 137122"/>
                <a:gd name="connsiteX12" fmla="*/ 85582 w 87259"/>
                <a:gd name="connsiteY12" fmla="*/ 130266 h 137122"/>
                <a:gd name="connsiteX13" fmla="*/ 70624 w 87259"/>
                <a:gd name="connsiteY13" fmla="*/ 126527 h 137122"/>
                <a:gd name="connsiteX14" fmla="*/ 43200 w 87259"/>
                <a:gd name="connsiteY14" fmla="*/ 131513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259" h="137122">
                  <a:moveTo>
                    <a:pt x="43200" y="131513"/>
                  </a:moveTo>
                  <a:cubicBezTo>
                    <a:pt x="30734" y="110321"/>
                    <a:pt x="19514" y="87883"/>
                    <a:pt x="10788" y="64198"/>
                  </a:cubicBezTo>
                  <a:cubicBezTo>
                    <a:pt x="9542" y="60459"/>
                    <a:pt x="8296" y="56719"/>
                    <a:pt x="10788" y="54226"/>
                  </a:cubicBezTo>
                  <a:cubicBezTo>
                    <a:pt x="13282" y="51733"/>
                    <a:pt x="17021" y="54226"/>
                    <a:pt x="19514" y="56719"/>
                  </a:cubicBezTo>
                  <a:cubicBezTo>
                    <a:pt x="22008" y="59212"/>
                    <a:pt x="24501" y="62952"/>
                    <a:pt x="26994" y="62952"/>
                  </a:cubicBezTo>
                  <a:cubicBezTo>
                    <a:pt x="29487" y="54226"/>
                    <a:pt x="26994" y="44253"/>
                    <a:pt x="25747" y="34281"/>
                  </a:cubicBezTo>
                  <a:cubicBezTo>
                    <a:pt x="24501" y="24308"/>
                    <a:pt x="26994" y="13089"/>
                    <a:pt x="34473" y="9349"/>
                  </a:cubicBezTo>
                  <a:cubicBezTo>
                    <a:pt x="41953" y="25555"/>
                    <a:pt x="48185" y="41760"/>
                    <a:pt x="54418" y="57965"/>
                  </a:cubicBezTo>
                  <a:cubicBezTo>
                    <a:pt x="53172" y="47993"/>
                    <a:pt x="53172" y="36774"/>
                    <a:pt x="53172" y="26801"/>
                  </a:cubicBezTo>
                  <a:cubicBezTo>
                    <a:pt x="53172" y="24308"/>
                    <a:pt x="53172" y="20568"/>
                    <a:pt x="54418" y="18075"/>
                  </a:cubicBezTo>
                  <a:cubicBezTo>
                    <a:pt x="55665" y="15582"/>
                    <a:pt x="58159" y="14335"/>
                    <a:pt x="60651" y="15582"/>
                  </a:cubicBezTo>
                  <a:cubicBezTo>
                    <a:pt x="63144" y="16829"/>
                    <a:pt x="63144" y="20568"/>
                    <a:pt x="63144" y="24308"/>
                  </a:cubicBezTo>
                  <a:cubicBezTo>
                    <a:pt x="64391" y="60459"/>
                    <a:pt x="69377" y="99102"/>
                    <a:pt x="85582" y="130266"/>
                  </a:cubicBezTo>
                  <a:cubicBezTo>
                    <a:pt x="81843" y="125280"/>
                    <a:pt x="75610" y="125280"/>
                    <a:pt x="70624" y="126527"/>
                  </a:cubicBezTo>
                  <a:cubicBezTo>
                    <a:pt x="63144" y="127773"/>
                    <a:pt x="53172" y="130266"/>
                    <a:pt x="43200" y="131513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F8C4D130-73EE-4271-BF0C-3D98CBC85476}"/>
                </a:ext>
              </a:extLst>
            </p:cNvPr>
            <p:cNvSpPr/>
            <p:nvPr/>
          </p:nvSpPr>
          <p:spPr>
            <a:xfrm>
              <a:off x="10722091" y="4741950"/>
              <a:ext cx="74794" cy="87260"/>
            </a:xfrm>
            <a:custGeom>
              <a:avLst/>
              <a:gdLst>
                <a:gd name="connsiteX0" fmla="*/ 52979 w 74794"/>
                <a:gd name="connsiteY0" fmla="*/ 10596 h 87259"/>
                <a:gd name="connsiteX1" fmla="*/ 69185 w 74794"/>
                <a:gd name="connsiteY1" fmla="*/ 82897 h 87259"/>
                <a:gd name="connsiteX2" fmla="*/ 30541 w 74794"/>
                <a:gd name="connsiteY2" fmla="*/ 81650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2979" y="10596"/>
                  </a:moveTo>
                  <a:lnTo>
                    <a:pt x="69185" y="82897"/>
                  </a:lnTo>
                  <a:lnTo>
                    <a:pt x="30541" y="81650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2E5BC91D-9D24-4BBE-AA72-AA5CD51EEB15}"/>
                </a:ext>
              </a:extLst>
            </p:cNvPr>
            <p:cNvSpPr/>
            <p:nvPr/>
          </p:nvSpPr>
          <p:spPr>
            <a:xfrm>
              <a:off x="10581079" y="4813005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39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39"/>
                  </a:cubicBezTo>
                  <a:lnTo>
                    <a:pt x="9499" y="65445"/>
                  </a:lnTo>
                  <a:cubicBezTo>
                    <a:pt x="9499" y="65445"/>
                    <a:pt x="-1720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CE0E6CF4-A853-4DDC-A4E8-04986BD455AA}"/>
                </a:ext>
              </a:extLst>
            </p:cNvPr>
            <p:cNvSpPr/>
            <p:nvPr/>
          </p:nvSpPr>
          <p:spPr>
            <a:xfrm>
              <a:off x="10680954" y="4809577"/>
              <a:ext cx="49863" cy="37397"/>
            </a:xfrm>
            <a:custGeom>
              <a:avLst/>
              <a:gdLst>
                <a:gd name="connsiteX0" fmla="*/ 11843 w 49862"/>
                <a:gd name="connsiteY0" fmla="*/ 10284 h 37397"/>
                <a:gd name="connsiteX1" fmla="*/ 10596 w 49862"/>
                <a:gd name="connsiteY1" fmla="*/ 10284 h 37397"/>
                <a:gd name="connsiteX2" fmla="*/ 11843 w 49862"/>
                <a:gd name="connsiteY2" fmla="*/ 10284 h 37397"/>
                <a:gd name="connsiteX3" fmla="*/ 33034 w 49862"/>
                <a:gd name="connsiteY3" fmla="*/ 17764 h 37397"/>
                <a:gd name="connsiteX4" fmla="*/ 47993 w 49862"/>
                <a:gd name="connsiteY4" fmla="*/ 37709 h 37397"/>
                <a:gd name="connsiteX5" fmla="*/ 29295 w 49862"/>
                <a:gd name="connsiteY5" fmla="*/ 22750 h 37397"/>
                <a:gd name="connsiteX6" fmla="*/ 9349 w 49862"/>
                <a:gd name="connsiteY6" fmla="*/ 11531 h 37397"/>
                <a:gd name="connsiteX7" fmla="*/ 11843 w 49862"/>
                <a:gd name="connsiteY7" fmla="*/ 10284 h 37397"/>
                <a:gd name="connsiteX8" fmla="*/ 11843 w 49862"/>
                <a:gd name="connsiteY8" fmla="*/ 102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3" y="10284"/>
                  </a:moveTo>
                  <a:cubicBezTo>
                    <a:pt x="11843" y="10284"/>
                    <a:pt x="11843" y="10284"/>
                    <a:pt x="10596" y="10284"/>
                  </a:cubicBezTo>
                  <a:lnTo>
                    <a:pt x="11843" y="10284"/>
                  </a:lnTo>
                  <a:cubicBezTo>
                    <a:pt x="14336" y="9038"/>
                    <a:pt x="23062" y="11531"/>
                    <a:pt x="33034" y="17764"/>
                  </a:cubicBezTo>
                  <a:cubicBezTo>
                    <a:pt x="45500" y="25243"/>
                    <a:pt x="49240" y="36462"/>
                    <a:pt x="47993" y="37709"/>
                  </a:cubicBezTo>
                  <a:cubicBezTo>
                    <a:pt x="46746" y="38955"/>
                    <a:pt x="40513" y="28983"/>
                    <a:pt x="29295" y="22750"/>
                  </a:cubicBezTo>
                  <a:cubicBezTo>
                    <a:pt x="20569" y="16517"/>
                    <a:pt x="11843" y="14024"/>
                    <a:pt x="9349" y="11531"/>
                  </a:cubicBezTo>
                  <a:lnTo>
                    <a:pt x="11843" y="10284"/>
                  </a:lnTo>
                  <a:cubicBezTo>
                    <a:pt x="10596" y="9038"/>
                    <a:pt x="11843" y="9038"/>
                    <a:pt x="11843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AAD2166-DF84-439A-B411-01C75517F678}"/>
                </a:ext>
              </a:extLst>
            </p:cNvPr>
            <p:cNvSpPr/>
            <p:nvPr/>
          </p:nvSpPr>
          <p:spPr>
            <a:xfrm>
              <a:off x="10667242" y="4814846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3 h 37397"/>
                <a:gd name="connsiteX3" fmla="*/ 28048 w 49862"/>
                <a:gd name="connsiteY3" fmla="*/ 18727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499" y="31193"/>
                    <a:pt x="44253" y="31193"/>
                  </a:cubicBezTo>
                  <a:cubicBezTo>
                    <a:pt x="43007" y="32439"/>
                    <a:pt x="38020" y="24960"/>
                    <a:pt x="28048" y="18727"/>
                  </a:cubicBezTo>
                  <a:cubicBezTo>
                    <a:pt x="18075" y="13741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022B2687-A8F1-41DA-A82B-1C331EA657FB}"/>
                </a:ext>
              </a:extLst>
            </p:cNvPr>
            <p:cNvSpPr/>
            <p:nvPr/>
          </p:nvSpPr>
          <p:spPr>
            <a:xfrm>
              <a:off x="10652283" y="4819792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2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2"/>
                  </a:cubicBezTo>
                  <a:cubicBezTo>
                    <a:pt x="35527" y="18768"/>
                    <a:pt x="40513" y="26247"/>
                    <a:pt x="39267" y="27494"/>
                  </a:cubicBezTo>
                  <a:cubicBezTo>
                    <a:pt x="38020" y="28740"/>
                    <a:pt x="33034" y="23754"/>
                    <a:pt x="24308" y="18768"/>
                  </a:cubicBezTo>
                  <a:cubicBezTo>
                    <a:pt x="16828" y="13782"/>
                    <a:pt x="9349" y="11288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6E34B0C6-DE09-4D2E-A15F-E158FD927246}"/>
                </a:ext>
              </a:extLst>
            </p:cNvPr>
            <p:cNvSpPr/>
            <p:nvPr/>
          </p:nvSpPr>
          <p:spPr>
            <a:xfrm>
              <a:off x="10707133" y="4790566"/>
              <a:ext cx="49863" cy="49863"/>
            </a:xfrm>
            <a:custGeom>
              <a:avLst/>
              <a:gdLst>
                <a:gd name="connsiteX0" fmla="*/ 24307 w 49862"/>
                <a:gd name="connsiteY0" fmla="*/ 43007 h 49862"/>
                <a:gd name="connsiteX1" fmla="*/ 25554 w 49862"/>
                <a:gd name="connsiteY1" fmla="*/ 38021 h 49862"/>
                <a:gd name="connsiteX2" fmla="*/ 23061 w 49862"/>
                <a:gd name="connsiteY2" fmla="*/ 24308 h 49862"/>
                <a:gd name="connsiteX3" fmla="*/ 19322 w 49862"/>
                <a:gd name="connsiteY3" fmla="*/ 15582 h 49862"/>
                <a:gd name="connsiteX4" fmla="*/ 16828 w 49862"/>
                <a:gd name="connsiteY4" fmla="*/ 13089 h 49862"/>
                <a:gd name="connsiteX5" fmla="*/ 16828 w 49862"/>
                <a:gd name="connsiteY5" fmla="*/ 15582 h 49862"/>
                <a:gd name="connsiteX6" fmla="*/ 18075 w 49862"/>
                <a:gd name="connsiteY6" fmla="*/ 28048 h 49862"/>
                <a:gd name="connsiteX7" fmla="*/ 23061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6 w 49862"/>
                <a:gd name="connsiteY11" fmla="*/ 21815 h 49862"/>
                <a:gd name="connsiteX12" fmla="*/ 31787 w 49862"/>
                <a:gd name="connsiteY12" fmla="*/ 28048 h 49862"/>
                <a:gd name="connsiteX13" fmla="*/ 20568 w 49862"/>
                <a:gd name="connsiteY13" fmla="*/ 44253 h 49862"/>
                <a:gd name="connsiteX14" fmla="*/ 29294 w 49862"/>
                <a:gd name="connsiteY14" fmla="*/ 25555 h 49862"/>
                <a:gd name="connsiteX15" fmla="*/ 36773 w 49862"/>
                <a:gd name="connsiteY15" fmla="*/ 18075 h 49862"/>
                <a:gd name="connsiteX16" fmla="*/ 39266 w 49862"/>
                <a:gd name="connsiteY16" fmla="*/ 16829 h 49862"/>
                <a:gd name="connsiteX17" fmla="*/ 44253 w 49862"/>
                <a:gd name="connsiteY17" fmla="*/ 18075 h 49862"/>
                <a:gd name="connsiteX18" fmla="*/ 44253 w 49862"/>
                <a:gd name="connsiteY18" fmla="*/ 25555 h 49862"/>
                <a:gd name="connsiteX19" fmla="*/ 34281 w 49862"/>
                <a:gd name="connsiteY19" fmla="*/ 36774 h 49862"/>
                <a:gd name="connsiteX20" fmla="*/ 20568 w 49862"/>
                <a:gd name="connsiteY20" fmla="*/ 41760 h 49862"/>
                <a:gd name="connsiteX21" fmla="*/ 15582 w 49862"/>
                <a:gd name="connsiteY21" fmla="*/ 39267 h 49862"/>
                <a:gd name="connsiteX22" fmla="*/ 13089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5 w 49862"/>
                <a:gd name="connsiteY25" fmla="*/ 9349 h 49862"/>
                <a:gd name="connsiteX26" fmla="*/ 20568 w 49862"/>
                <a:gd name="connsiteY26" fmla="*/ 14335 h 49862"/>
                <a:gd name="connsiteX27" fmla="*/ 23061 w 49862"/>
                <a:gd name="connsiteY27" fmla="*/ 24308 h 49862"/>
                <a:gd name="connsiteX28" fmla="*/ 24307 w 49862"/>
                <a:gd name="connsiteY28" fmla="*/ 39267 h 49862"/>
                <a:gd name="connsiteX29" fmla="*/ 24307 w 49862"/>
                <a:gd name="connsiteY29" fmla="*/ 43007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7" y="43007"/>
                  </a:moveTo>
                  <a:cubicBezTo>
                    <a:pt x="24307" y="43007"/>
                    <a:pt x="24307" y="40513"/>
                    <a:pt x="25554" y="38021"/>
                  </a:cubicBezTo>
                  <a:cubicBezTo>
                    <a:pt x="25554" y="34281"/>
                    <a:pt x="24307" y="30541"/>
                    <a:pt x="23061" y="24308"/>
                  </a:cubicBezTo>
                  <a:cubicBezTo>
                    <a:pt x="21815" y="21815"/>
                    <a:pt x="20568" y="18075"/>
                    <a:pt x="19322" y="15582"/>
                  </a:cubicBezTo>
                  <a:cubicBezTo>
                    <a:pt x="18075" y="14335"/>
                    <a:pt x="18075" y="13089"/>
                    <a:pt x="16828" y="13089"/>
                  </a:cubicBezTo>
                  <a:cubicBezTo>
                    <a:pt x="16828" y="13089"/>
                    <a:pt x="16828" y="13089"/>
                    <a:pt x="16828" y="15582"/>
                  </a:cubicBezTo>
                  <a:cubicBezTo>
                    <a:pt x="16828" y="19322"/>
                    <a:pt x="16828" y="23062"/>
                    <a:pt x="18075" y="28048"/>
                  </a:cubicBezTo>
                  <a:cubicBezTo>
                    <a:pt x="19322" y="31788"/>
                    <a:pt x="21815" y="38021"/>
                    <a:pt x="23061" y="36774"/>
                  </a:cubicBezTo>
                  <a:cubicBezTo>
                    <a:pt x="29294" y="34281"/>
                    <a:pt x="40513" y="30541"/>
                    <a:pt x="41760" y="24308"/>
                  </a:cubicBezTo>
                  <a:cubicBezTo>
                    <a:pt x="41760" y="23062"/>
                    <a:pt x="41760" y="20568"/>
                    <a:pt x="41760" y="20568"/>
                  </a:cubicBezTo>
                  <a:cubicBezTo>
                    <a:pt x="41760" y="20568"/>
                    <a:pt x="43006" y="20568"/>
                    <a:pt x="41760" y="20568"/>
                  </a:cubicBezTo>
                  <a:lnTo>
                    <a:pt x="39266" y="21815"/>
                  </a:lnTo>
                  <a:cubicBezTo>
                    <a:pt x="36773" y="24308"/>
                    <a:pt x="34281" y="25555"/>
                    <a:pt x="31787" y="28048"/>
                  </a:cubicBezTo>
                  <a:cubicBezTo>
                    <a:pt x="23061" y="36774"/>
                    <a:pt x="20568" y="44253"/>
                    <a:pt x="20568" y="44253"/>
                  </a:cubicBezTo>
                  <a:cubicBezTo>
                    <a:pt x="20568" y="44253"/>
                    <a:pt x="21815" y="35527"/>
                    <a:pt x="29294" y="25555"/>
                  </a:cubicBezTo>
                  <a:cubicBezTo>
                    <a:pt x="31787" y="23062"/>
                    <a:pt x="34281" y="20568"/>
                    <a:pt x="36773" y="18075"/>
                  </a:cubicBezTo>
                  <a:lnTo>
                    <a:pt x="39266" y="16829"/>
                  </a:lnTo>
                  <a:cubicBezTo>
                    <a:pt x="39266" y="15582"/>
                    <a:pt x="44253" y="15582"/>
                    <a:pt x="44253" y="18075"/>
                  </a:cubicBezTo>
                  <a:cubicBezTo>
                    <a:pt x="45499" y="21815"/>
                    <a:pt x="45499" y="23062"/>
                    <a:pt x="44253" y="25555"/>
                  </a:cubicBezTo>
                  <a:cubicBezTo>
                    <a:pt x="43006" y="30541"/>
                    <a:pt x="39266" y="34281"/>
                    <a:pt x="34281" y="36774"/>
                  </a:cubicBezTo>
                  <a:cubicBezTo>
                    <a:pt x="29294" y="39267"/>
                    <a:pt x="26801" y="40513"/>
                    <a:pt x="20568" y="41760"/>
                  </a:cubicBezTo>
                  <a:cubicBezTo>
                    <a:pt x="19322" y="41760"/>
                    <a:pt x="16828" y="40513"/>
                    <a:pt x="15582" y="39267"/>
                  </a:cubicBezTo>
                  <a:cubicBezTo>
                    <a:pt x="14335" y="38021"/>
                    <a:pt x="14335" y="36774"/>
                    <a:pt x="13089" y="35527"/>
                  </a:cubicBezTo>
                  <a:cubicBezTo>
                    <a:pt x="11842" y="33034"/>
                    <a:pt x="11842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5" y="9349"/>
                  </a:cubicBezTo>
                  <a:cubicBezTo>
                    <a:pt x="18075" y="9349"/>
                    <a:pt x="19322" y="11843"/>
                    <a:pt x="20568" y="14335"/>
                  </a:cubicBezTo>
                  <a:cubicBezTo>
                    <a:pt x="21815" y="18075"/>
                    <a:pt x="23061" y="21815"/>
                    <a:pt x="23061" y="24308"/>
                  </a:cubicBezTo>
                  <a:cubicBezTo>
                    <a:pt x="24307" y="30541"/>
                    <a:pt x="25554" y="35527"/>
                    <a:pt x="24307" y="39267"/>
                  </a:cubicBezTo>
                  <a:cubicBezTo>
                    <a:pt x="26801" y="41760"/>
                    <a:pt x="25554" y="43007"/>
                    <a:pt x="24307" y="4300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03214EA6-0C22-4B99-96A7-193734F770AD}"/>
                </a:ext>
              </a:extLst>
            </p:cNvPr>
            <p:cNvSpPr/>
            <p:nvPr/>
          </p:nvSpPr>
          <p:spPr>
            <a:xfrm>
              <a:off x="10960186" y="4719512"/>
              <a:ext cx="74794" cy="87260"/>
            </a:xfrm>
            <a:custGeom>
              <a:avLst/>
              <a:gdLst>
                <a:gd name="connsiteX0" fmla="*/ 54225 w 74794"/>
                <a:gd name="connsiteY0" fmla="*/ 10596 h 87259"/>
                <a:gd name="connsiteX1" fmla="*/ 69184 w 74794"/>
                <a:gd name="connsiteY1" fmla="*/ 84143 h 87259"/>
                <a:gd name="connsiteX2" fmla="*/ 30541 w 74794"/>
                <a:gd name="connsiteY2" fmla="*/ 82897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4225" y="10596"/>
                  </a:moveTo>
                  <a:lnTo>
                    <a:pt x="69184" y="84143"/>
                  </a:lnTo>
                  <a:lnTo>
                    <a:pt x="30541" y="82897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EABA5F3C-9711-4105-9B59-6B7CEF47EB87}"/>
                </a:ext>
              </a:extLst>
            </p:cNvPr>
            <p:cNvSpPr/>
            <p:nvPr/>
          </p:nvSpPr>
          <p:spPr>
            <a:xfrm>
              <a:off x="10820421" y="4791813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40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40"/>
                  </a:cubicBezTo>
                  <a:lnTo>
                    <a:pt x="9499" y="65445"/>
                  </a:lnTo>
                  <a:cubicBezTo>
                    <a:pt x="9499" y="65445"/>
                    <a:pt x="-1721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AD38727B-7EB2-4A23-A14E-05BF4E2E6A35}"/>
                </a:ext>
              </a:extLst>
            </p:cNvPr>
            <p:cNvSpPr/>
            <p:nvPr/>
          </p:nvSpPr>
          <p:spPr>
            <a:xfrm>
              <a:off x="10919049" y="4787762"/>
              <a:ext cx="49863" cy="37397"/>
            </a:xfrm>
            <a:custGeom>
              <a:avLst/>
              <a:gdLst>
                <a:gd name="connsiteX0" fmla="*/ 11842 w 49862"/>
                <a:gd name="connsiteY0" fmla="*/ 9661 h 37397"/>
                <a:gd name="connsiteX1" fmla="*/ 10596 w 49862"/>
                <a:gd name="connsiteY1" fmla="*/ 9661 h 37397"/>
                <a:gd name="connsiteX2" fmla="*/ 11842 w 49862"/>
                <a:gd name="connsiteY2" fmla="*/ 9661 h 37397"/>
                <a:gd name="connsiteX3" fmla="*/ 33034 w 49862"/>
                <a:gd name="connsiteY3" fmla="*/ 17140 h 37397"/>
                <a:gd name="connsiteX4" fmla="*/ 47993 w 49862"/>
                <a:gd name="connsiteY4" fmla="*/ 37085 h 37397"/>
                <a:gd name="connsiteX5" fmla="*/ 29294 w 49862"/>
                <a:gd name="connsiteY5" fmla="*/ 22127 h 37397"/>
                <a:gd name="connsiteX6" fmla="*/ 9349 w 49862"/>
                <a:gd name="connsiteY6" fmla="*/ 10907 h 37397"/>
                <a:gd name="connsiteX7" fmla="*/ 11842 w 49862"/>
                <a:gd name="connsiteY7" fmla="*/ 9661 h 37397"/>
                <a:gd name="connsiteX8" fmla="*/ 11842 w 49862"/>
                <a:gd name="connsiteY8" fmla="*/ 966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2" y="9661"/>
                  </a:moveTo>
                  <a:cubicBezTo>
                    <a:pt x="11842" y="9661"/>
                    <a:pt x="11842" y="9661"/>
                    <a:pt x="10596" y="9661"/>
                  </a:cubicBezTo>
                  <a:lnTo>
                    <a:pt x="11842" y="9661"/>
                  </a:lnTo>
                  <a:cubicBezTo>
                    <a:pt x="14335" y="8414"/>
                    <a:pt x="23061" y="10907"/>
                    <a:pt x="33034" y="17140"/>
                  </a:cubicBezTo>
                  <a:cubicBezTo>
                    <a:pt x="45499" y="24620"/>
                    <a:pt x="49239" y="35839"/>
                    <a:pt x="47993" y="37085"/>
                  </a:cubicBezTo>
                  <a:cubicBezTo>
                    <a:pt x="46746" y="38332"/>
                    <a:pt x="40513" y="28359"/>
                    <a:pt x="29294" y="22127"/>
                  </a:cubicBezTo>
                  <a:cubicBezTo>
                    <a:pt x="20568" y="15894"/>
                    <a:pt x="11842" y="13401"/>
                    <a:pt x="9349" y="10907"/>
                  </a:cubicBezTo>
                  <a:lnTo>
                    <a:pt x="11842" y="9661"/>
                  </a:lnTo>
                  <a:cubicBezTo>
                    <a:pt x="11842" y="9661"/>
                    <a:pt x="11842" y="9661"/>
                    <a:pt x="11842" y="966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CC6D3ED5-1A63-4ED1-BD91-4B35269D5A45}"/>
                </a:ext>
              </a:extLst>
            </p:cNvPr>
            <p:cNvSpPr/>
            <p:nvPr/>
          </p:nvSpPr>
          <p:spPr>
            <a:xfrm>
              <a:off x="10905337" y="4793655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2 h 37397"/>
                <a:gd name="connsiteX3" fmla="*/ 28048 w 49862"/>
                <a:gd name="connsiteY3" fmla="*/ 18726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500" y="31192"/>
                    <a:pt x="44253" y="31192"/>
                  </a:cubicBezTo>
                  <a:cubicBezTo>
                    <a:pt x="43007" y="32439"/>
                    <a:pt x="38020" y="24959"/>
                    <a:pt x="28048" y="18726"/>
                  </a:cubicBezTo>
                  <a:cubicBezTo>
                    <a:pt x="18075" y="13740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F75805EB-5F91-40DE-BBED-8C74C0FE9941}"/>
                </a:ext>
              </a:extLst>
            </p:cNvPr>
            <p:cNvSpPr/>
            <p:nvPr/>
          </p:nvSpPr>
          <p:spPr>
            <a:xfrm>
              <a:off x="10890378" y="4798600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1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1"/>
                  </a:cubicBezTo>
                  <a:cubicBezTo>
                    <a:pt x="35528" y="18768"/>
                    <a:pt x="40513" y="26247"/>
                    <a:pt x="39267" y="27494"/>
                  </a:cubicBezTo>
                  <a:cubicBezTo>
                    <a:pt x="38021" y="28740"/>
                    <a:pt x="33034" y="23754"/>
                    <a:pt x="24308" y="18768"/>
                  </a:cubicBezTo>
                  <a:cubicBezTo>
                    <a:pt x="16829" y="13781"/>
                    <a:pt x="9349" y="11289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C96E490E-331C-4464-9A3B-7646387B723B}"/>
                </a:ext>
              </a:extLst>
            </p:cNvPr>
            <p:cNvSpPr/>
            <p:nvPr/>
          </p:nvSpPr>
          <p:spPr>
            <a:xfrm>
              <a:off x="10946473" y="4769375"/>
              <a:ext cx="49863" cy="49863"/>
            </a:xfrm>
            <a:custGeom>
              <a:avLst/>
              <a:gdLst>
                <a:gd name="connsiteX0" fmla="*/ 24308 w 49862"/>
                <a:gd name="connsiteY0" fmla="*/ 43006 h 49862"/>
                <a:gd name="connsiteX1" fmla="*/ 25555 w 49862"/>
                <a:gd name="connsiteY1" fmla="*/ 38020 h 49862"/>
                <a:gd name="connsiteX2" fmla="*/ 23062 w 49862"/>
                <a:gd name="connsiteY2" fmla="*/ 24308 h 49862"/>
                <a:gd name="connsiteX3" fmla="*/ 19322 w 49862"/>
                <a:gd name="connsiteY3" fmla="*/ 15582 h 49862"/>
                <a:gd name="connsiteX4" fmla="*/ 16829 w 49862"/>
                <a:gd name="connsiteY4" fmla="*/ 13089 h 49862"/>
                <a:gd name="connsiteX5" fmla="*/ 16829 w 49862"/>
                <a:gd name="connsiteY5" fmla="*/ 15582 h 49862"/>
                <a:gd name="connsiteX6" fmla="*/ 18075 w 49862"/>
                <a:gd name="connsiteY6" fmla="*/ 28048 h 49862"/>
                <a:gd name="connsiteX7" fmla="*/ 23062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7 w 49862"/>
                <a:gd name="connsiteY11" fmla="*/ 21815 h 49862"/>
                <a:gd name="connsiteX12" fmla="*/ 31788 w 49862"/>
                <a:gd name="connsiteY12" fmla="*/ 28048 h 49862"/>
                <a:gd name="connsiteX13" fmla="*/ 20569 w 49862"/>
                <a:gd name="connsiteY13" fmla="*/ 44253 h 49862"/>
                <a:gd name="connsiteX14" fmla="*/ 29295 w 49862"/>
                <a:gd name="connsiteY14" fmla="*/ 25554 h 49862"/>
                <a:gd name="connsiteX15" fmla="*/ 36774 w 49862"/>
                <a:gd name="connsiteY15" fmla="*/ 18075 h 49862"/>
                <a:gd name="connsiteX16" fmla="*/ 39267 w 49862"/>
                <a:gd name="connsiteY16" fmla="*/ 16828 h 49862"/>
                <a:gd name="connsiteX17" fmla="*/ 44254 w 49862"/>
                <a:gd name="connsiteY17" fmla="*/ 18075 h 49862"/>
                <a:gd name="connsiteX18" fmla="*/ 44254 w 49862"/>
                <a:gd name="connsiteY18" fmla="*/ 25554 h 49862"/>
                <a:gd name="connsiteX19" fmla="*/ 34281 w 49862"/>
                <a:gd name="connsiteY19" fmla="*/ 36774 h 49862"/>
                <a:gd name="connsiteX20" fmla="*/ 20569 w 49862"/>
                <a:gd name="connsiteY20" fmla="*/ 41760 h 49862"/>
                <a:gd name="connsiteX21" fmla="*/ 15582 w 49862"/>
                <a:gd name="connsiteY21" fmla="*/ 39267 h 49862"/>
                <a:gd name="connsiteX22" fmla="*/ 13090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6 w 49862"/>
                <a:gd name="connsiteY25" fmla="*/ 9349 h 49862"/>
                <a:gd name="connsiteX26" fmla="*/ 20569 w 49862"/>
                <a:gd name="connsiteY26" fmla="*/ 14335 h 49862"/>
                <a:gd name="connsiteX27" fmla="*/ 23062 w 49862"/>
                <a:gd name="connsiteY27" fmla="*/ 24308 h 49862"/>
                <a:gd name="connsiteX28" fmla="*/ 24308 w 49862"/>
                <a:gd name="connsiteY28" fmla="*/ 39267 h 49862"/>
                <a:gd name="connsiteX29" fmla="*/ 24308 w 49862"/>
                <a:gd name="connsiteY29" fmla="*/ 4300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8" y="43006"/>
                  </a:moveTo>
                  <a:cubicBezTo>
                    <a:pt x="24308" y="43006"/>
                    <a:pt x="24308" y="40513"/>
                    <a:pt x="25555" y="38020"/>
                  </a:cubicBezTo>
                  <a:cubicBezTo>
                    <a:pt x="25555" y="34281"/>
                    <a:pt x="24308" y="30541"/>
                    <a:pt x="23062" y="24308"/>
                  </a:cubicBezTo>
                  <a:cubicBezTo>
                    <a:pt x="21815" y="21815"/>
                    <a:pt x="20569" y="18075"/>
                    <a:pt x="19322" y="15582"/>
                  </a:cubicBezTo>
                  <a:cubicBezTo>
                    <a:pt x="18075" y="14335"/>
                    <a:pt x="18075" y="13089"/>
                    <a:pt x="16829" y="13089"/>
                  </a:cubicBezTo>
                  <a:cubicBezTo>
                    <a:pt x="16829" y="13089"/>
                    <a:pt x="16829" y="13089"/>
                    <a:pt x="16829" y="15582"/>
                  </a:cubicBezTo>
                  <a:cubicBezTo>
                    <a:pt x="16829" y="19322"/>
                    <a:pt x="16829" y="23061"/>
                    <a:pt x="18075" y="28048"/>
                  </a:cubicBezTo>
                  <a:cubicBezTo>
                    <a:pt x="19322" y="31787"/>
                    <a:pt x="21815" y="38020"/>
                    <a:pt x="23062" y="36774"/>
                  </a:cubicBezTo>
                  <a:cubicBezTo>
                    <a:pt x="29295" y="34281"/>
                    <a:pt x="40513" y="30541"/>
                    <a:pt x="41760" y="24308"/>
                  </a:cubicBezTo>
                  <a:cubicBezTo>
                    <a:pt x="41760" y="23061"/>
                    <a:pt x="41760" y="20568"/>
                    <a:pt x="41760" y="20568"/>
                  </a:cubicBezTo>
                  <a:cubicBezTo>
                    <a:pt x="41760" y="20568"/>
                    <a:pt x="43007" y="20568"/>
                    <a:pt x="41760" y="20568"/>
                  </a:cubicBezTo>
                  <a:lnTo>
                    <a:pt x="39267" y="21815"/>
                  </a:lnTo>
                  <a:cubicBezTo>
                    <a:pt x="36774" y="24308"/>
                    <a:pt x="34281" y="25554"/>
                    <a:pt x="31788" y="28048"/>
                  </a:cubicBezTo>
                  <a:cubicBezTo>
                    <a:pt x="23062" y="36774"/>
                    <a:pt x="20569" y="44253"/>
                    <a:pt x="20569" y="44253"/>
                  </a:cubicBezTo>
                  <a:cubicBezTo>
                    <a:pt x="20569" y="44253"/>
                    <a:pt x="21815" y="35527"/>
                    <a:pt x="29295" y="25554"/>
                  </a:cubicBezTo>
                  <a:cubicBezTo>
                    <a:pt x="31788" y="23061"/>
                    <a:pt x="34281" y="20568"/>
                    <a:pt x="36774" y="18075"/>
                  </a:cubicBezTo>
                  <a:lnTo>
                    <a:pt x="39267" y="16828"/>
                  </a:lnTo>
                  <a:cubicBezTo>
                    <a:pt x="39267" y="15582"/>
                    <a:pt x="44254" y="15582"/>
                    <a:pt x="44254" y="18075"/>
                  </a:cubicBezTo>
                  <a:cubicBezTo>
                    <a:pt x="45500" y="21815"/>
                    <a:pt x="45500" y="23061"/>
                    <a:pt x="44254" y="25554"/>
                  </a:cubicBezTo>
                  <a:cubicBezTo>
                    <a:pt x="43007" y="30541"/>
                    <a:pt x="39267" y="34281"/>
                    <a:pt x="34281" y="36774"/>
                  </a:cubicBezTo>
                  <a:cubicBezTo>
                    <a:pt x="29295" y="39267"/>
                    <a:pt x="26802" y="40513"/>
                    <a:pt x="20569" y="41760"/>
                  </a:cubicBezTo>
                  <a:cubicBezTo>
                    <a:pt x="19322" y="41760"/>
                    <a:pt x="16829" y="40513"/>
                    <a:pt x="15582" y="39267"/>
                  </a:cubicBezTo>
                  <a:cubicBezTo>
                    <a:pt x="14336" y="38020"/>
                    <a:pt x="14336" y="36774"/>
                    <a:pt x="13090" y="35527"/>
                  </a:cubicBezTo>
                  <a:cubicBezTo>
                    <a:pt x="11843" y="33034"/>
                    <a:pt x="11843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6" y="9349"/>
                  </a:cubicBezTo>
                  <a:cubicBezTo>
                    <a:pt x="18075" y="9349"/>
                    <a:pt x="19322" y="11842"/>
                    <a:pt x="20569" y="14335"/>
                  </a:cubicBezTo>
                  <a:cubicBezTo>
                    <a:pt x="21815" y="18075"/>
                    <a:pt x="23062" y="21815"/>
                    <a:pt x="23062" y="24308"/>
                  </a:cubicBezTo>
                  <a:cubicBezTo>
                    <a:pt x="24308" y="30541"/>
                    <a:pt x="25555" y="35527"/>
                    <a:pt x="24308" y="39267"/>
                  </a:cubicBezTo>
                  <a:cubicBezTo>
                    <a:pt x="25555" y="41760"/>
                    <a:pt x="24308" y="43006"/>
                    <a:pt x="24308" y="4300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60F745C-06CD-4316-A51D-01F0F74AEC71}"/>
                </a:ext>
              </a:extLst>
            </p:cNvPr>
            <p:cNvSpPr/>
            <p:nvPr/>
          </p:nvSpPr>
          <p:spPr>
            <a:xfrm>
              <a:off x="10699653" y="3093723"/>
              <a:ext cx="448765" cy="648215"/>
            </a:xfrm>
            <a:custGeom>
              <a:avLst/>
              <a:gdLst>
                <a:gd name="connsiteX0" fmla="*/ 172650 w 448764"/>
                <a:gd name="connsiteY0" fmla="*/ 12107 h 648215"/>
                <a:gd name="connsiteX1" fmla="*/ 398279 w 448764"/>
                <a:gd name="connsiteY1" fmla="*/ 262667 h 648215"/>
                <a:gd name="connsiteX2" fmla="*/ 425703 w 448764"/>
                <a:gd name="connsiteY2" fmla="*/ 642870 h 648215"/>
                <a:gd name="connsiteX3" fmla="*/ 44253 w 448764"/>
                <a:gd name="connsiteY3" fmla="*/ 595501 h 648215"/>
                <a:gd name="connsiteX4" fmla="*/ 81650 w 448764"/>
                <a:gd name="connsiteY4" fmla="*/ 343694 h 648215"/>
                <a:gd name="connsiteX5" fmla="*/ 9349 w 448764"/>
                <a:gd name="connsiteY5" fmla="*/ 65709 h 648215"/>
                <a:gd name="connsiteX6" fmla="*/ 172650 w 448764"/>
                <a:gd name="connsiteY6" fmla="*/ 12107 h 64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764" h="648215">
                  <a:moveTo>
                    <a:pt x="172650" y="12107"/>
                  </a:moveTo>
                  <a:cubicBezTo>
                    <a:pt x="172650" y="12107"/>
                    <a:pt x="324731" y="-35263"/>
                    <a:pt x="398279" y="262667"/>
                  </a:cubicBezTo>
                  <a:cubicBezTo>
                    <a:pt x="471827" y="559350"/>
                    <a:pt x="425703" y="642870"/>
                    <a:pt x="425703" y="642870"/>
                  </a:cubicBezTo>
                  <a:lnTo>
                    <a:pt x="44253" y="595501"/>
                  </a:lnTo>
                  <a:cubicBezTo>
                    <a:pt x="44253" y="595501"/>
                    <a:pt x="96609" y="439679"/>
                    <a:pt x="81650" y="343694"/>
                  </a:cubicBezTo>
                  <a:cubicBezTo>
                    <a:pt x="66692" y="247708"/>
                    <a:pt x="9349" y="65709"/>
                    <a:pt x="9349" y="65709"/>
                  </a:cubicBezTo>
                  <a:cubicBezTo>
                    <a:pt x="9349" y="65709"/>
                    <a:pt x="92869" y="888"/>
                    <a:pt x="172650" y="12107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D202F4C1-034A-4746-BF85-7ECB27E91345}"/>
                </a:ext>
              </a:extLst>
            </p:cNvPr>
            <p:cNvSpPr/>
            <p:nvPr/>
          </p:nvSpPr>
          <p:spPr>
            <a:xfrm>
              <a:off x="10354353" y="3126398"/>
              <a:ext cx="511093" cy="311642"/>
            </a:xfrm>
            <a:custGeom>
              <a:avLst/>
              <a:gdLst>
                <a:gd name="connsiteX0" fmla="*/ 9349 w 511093"/>
                <a:gd name="connsiteY0" fmla="*/ 35527 h 311642"/>
                <a:gd name="connsiteX1" fmla="*/ 227499 w 511093"/>
                <a:gd name="connsiteY1" fmla="*/ 298553 h 311642"/>
                <a:gd name="connsiteX2" fmla="*/ 507977 w 511093"/>
                <a:gd name="connsiteY2" fmla="*/ 106582 h 311642"/>
                <a:gd name="connsiteX3" fmla="*/ 372101 w 511093"/>
                <a:gd name="connsiteY3" fmla="*/ 9349 h 311642"/>
                <a:gd name="connsiteX4" fmla="*/ 185116 w 511093"/>
                <a:gd name="connsiteY4" fmla="*/ 165170 h 311642"/>
                <a:gd name="connsiteX5" fmla="*/ 71678 w 511093"/>
                <a:gd name="connsiteY5" fmla="*/ 30541 h 311642"/>
                <a:gd name="connsiteX6" fmla="*/ 9349 w 511093"/>
                <a:gd name="connsiteY6" fmla="*/ 35527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093" h="311642">
                  <a:moveTo>
                    <a:pt x="9349" y="35527"/>
                  </a:moveTo>
                  <a:cubicBezTo>
                    <a:pt x="9349" y="35527"/>
                    <a:pt x="105335" y="363375"/>
                    <a:pt x="227499" y="298553"/>
                  </a:cubicBezTo>
                  <a:cubicBezTo>
                    <a:pt x="349663" y="233732"/>
                    <a:pt x="507977" y="106582"/>
                    <a:pt x="507977" y="106582"/>
                  </a:cubicBezTo>
                  <a:lnTo>
                    <a:pt x="372101" y="9349"/>
                  </a:lnTo>
                  <a:cubicBezTo>
                    <a:pt x="372101" y="9349"/>
                    <a:pt x="220020" y="193842"/>
                    <a:pt x="185116" y="165170"/>
                  </a:cubicBezTo>
                  <a:cubicBezTo>
                    <a:pt x="151458" y="136499"/>
                    <a:pt x="71678" y="30541"/>
                    <a:pt x="71678" y="30541"/>
                  </a:cubicBezTo>
                  <a:lnTo>
                    <a:pt x="9349" y="35527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BA73FE05-2CDC-44D6-BF66-1DBB384F03F5}"/>
                </a:ext>
              </a:extLst>
            </p:cNvPr>
            <p:cNvSpPr/>
            <p:nvPr/>
          </p:nvSpPr>
          <p:spPr>
            <a:xfrm>
              <a:off x="10581229" y="3126398"/>
              <a:ext cx="199451" cy="299176"/>
            </a:xfrm>
            <a:custGeom>
              <a:avLst/>
              <a:gdLst>
                <a:gd name="connsiteX0" fmla="*/ 145226 w 199450"/>
                <a:gd name="connsiteY0" fmla="*/ 9349 h 299176"/>
                <a:gd name="connsiteX1" fmla="*/ 9349 w 199450"/>
                <a:gd name="connsiteY1" fmla="*/ 294813 h 299176"/>
                <a:gd name="connsiteX2" fmla="*/ 191349 w 199450"/>
                <a:gd name="connsiteY2" fmla="*/ 173896 h 299176"/>
                <a:gd name="connsiteX3" fmla="*/ 183869 w 199450"/>
                <a:gd name="connsiteY3" fmla="*/ 30541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50" h="299176">
                  <a:moveTo>
                    <a:pt x="145226" y="9349"/>
                  </a:moveTo>
                  <a:lnTo>
                    <a:pt x="9349" y="294813"/>
                  </a:lnTo>
                  <a:lnTo>
                    <a:pt x="191349" y="173896"/>
                  </a:lnTo>
                  <a:lnTo>
                    <a:pt x="183869" y="30541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AF44C30F-33D4-4892-8DFD-FB310482EC96}"/>
                </a:ext>
              </a:extLst>
            </p:cNvPr>
            <p:cNvSpPr/>
            <p:nvPr/>
          </p:nvSpPr>
          <p:spPr>
            <a:xfrm>
              <a:off x="10470068" y="3646217"/>
              <a:ext cx="660681" cy="1146843"/>
            </a:xfrm>
            <a:custGeom>
              <a:avLst/>
              <a:gdLst>
                <a:gd name="connsiteX0" fmla="*/ 339907 w 660681"/>
                <a:gd name="connsiteY0" fmla="*/ 9349 h 1146842"/>
                <a:gd name="connsiteX1" fmla="*/ 10812 w 660681"/>
                <a:gd name="connsiteY1" fmla="*/ 463100 h 1146842"/>
                <a:gd name="connsiteX2" fmla="*/ 258880 w 660681"/>
                <a:gd name="connsiteY2" fmla="*/ 1144973 h 1146842"/>
                <a:gd name="connsiteX3" fmla="*/ 326194 w 660681"/>
                <a:gd name="connsiteY3" fmla="*/ 1139987 h 1146842"/>
                <a:gd name="connsiteX4" fmla="*/ 194058 w 660681"/>
                <a:gd name="connsiteY4" fmla="*/ 516702 h 1146842"/>
                <a:gd name="connsiteX5" fmla="*/ 358605 w 660681"/>
                <a:gd name="connsiteY5" fmla="*/ 269882 h 1146842"/>
                <a:gd name="connsiteX6" fmla="*/ 295030 w 660681"/>
                <a:gd name="connsiteY6" fmla="*/ 652579 h 1146842"/>
                <a:gd name="connsiteX7" fmla="*/ 491987 w 660681"/>
                <a:gd name="connsiteY7" fmla="*/ 1100097 h 1146842"/>
                <a:gd name="connsiteX8" fmla="*/ 555563 w 660681"/>
                <a:gd name="connsiteY8" fmla="*/ 1095110 h 1146842"/>
                <a:gd name="connsiteX9" fmla="*/ 467056 w 660681"/>
                <a:gd name="connsiteY9" fmla="*/ 488031 h 1146842"/>
                <a:gd name="connsiteX10" fmla="*/ 660274 w 660681"/>
                <a:gd name="connsiteY10" fmla="*/ 89130 h 1146842"/>
                <a:gd name="connsiteX11" fmla="*/ 339907 w 660681"/>
                <a:gd name="connsiteY11" fmla="*/ 9349 h 1146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0681" h="1146842">
                  <a:moveTo>
                    <a:pt x="339907" y="9349"/>
                  </a:moveTo>
                  <a:cubicBezTo>
                    <a:pt x="339907" y="9349"/>
                    <a:pt x="34497" y="357142"/>
                    <a:pt x="10812" y="463100"/>
                  </a:cubicBezTo>
                  <a:cubicBezTo>
                    <a:pt x="-12873" y="567812"/>
                    <a:pt x="258880" y="1144973"/>
                    <a:pt x="258880" y="1144973"/>
                  </a:cubicBezTo>
                  <a:lnTo>
                    <a:pt x="326194" y="1139987"/>
                  </a:lnTo>
                  <a:cubicBezTo>
                    <a:pt x="326194" y="1139987"/>
                    <a:pt x="179099" y="581524"/>
                    <a:pt x="194058" y="516702"/>
                  </a:cubicBezTo>
                  <a:cubicBezTo>
                    <a:pt x="209017" y="451881"/>
                    <a:pt x="358605" y="269882"/>
                    <a:pt x="358605" y="269882"/>
                  </a:cubicBezTo>
                  <a:cubicBezTo>
                    <a:pt x="358605" y="269882"/>
                    <a:pt x="256386" y="468086"/>
                    <a:pt x="295030" y="652579"/>
                  </a:cubicBezTo>
                  <a:cubicBezTo>
                    <a:pt x="337413" y="854522"/>
                    <a:pt x="491987" y="1100097"/>
                    <a:pt x="491987" y="1100097"/>
                  </a:cubicBezTo>
                  <a:lnTo>
                    <a:pt x="555563" y="1095110"/>
                  </a:lnTo>
                  <a:cubicBezTo>
                    <a:pt x="555563" y="1095110"/>
                    <a:pt x="408468" y="596483"/>
                    <a:pt x="467056" y="488031"/>
                  </a:cubicBezTo>
                  <a:cubicBezTo>
                    <a:pt x="528138" y="373347"/>
                    <a:pt x="660274" y="89130"/>
                    <a:pt x="660274" y="89130"/>
                  </a:cubicBezTo>
                  <a:lnTo>
                    <a:pt x="339907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21E59CFE-46D2-4AF1-9D56-3A62015125C9}"/>
                </a:ext>
              </a:extLst>
            </p:cNvPr>
            <p:cNvSpPr/>
            <p:nvPr/>
          </p:nvSpPr>
          <p:spPr>
            <a:xfrm>
              <a:off x="10816752" y="3739710"/>
              <a:ext cx="174520" cy="959858"/>
            </a:xfrm>
            <a:custGeom>
              <a:avLst/>
              <a:gdLst>
                <a:gd name="connsiteX0" fmla="*/ 172728 w 174519"/>
                <a:gd name="connsiteY0" fmla="*/ 9349 h 959857"/>
                <a:gd name="connsiteX1" fmla="*/ 170235 w 174519"/>
                <a:gd name="connsiteY1" fmla="*/ 19322 h 959857"/>
                <a:gd name="connsiteX2" fmla="*/ 160263 w 174519"/>
                <a:gd name="connsiteY2" fmla="*/ 46746 h 959857"/>
                <a:gd name="connsiteX3" fmla="*/ 122866 w 174519"/>
                <a:gd name="connsiteY3" fmla="*/ 147718 h 959857"/>
                <a:gd name="connsiteX4" fmla="*/ 68017 w 174519"/>
                <a:gd name="connsiteY4" fmla="*/ 296060 h 959857"/>
                <a:gd name="connsiteX5" fmla="*/ 35606 w 174519"/>
                <a:gd name="connsiteY5" fmla="*/ 383320 h 959857"/>
                <a:gd name="connsiteX6" fmla="*/ 21894 w 174519"/>
                <a:gd name="connsiteY6" fmla="*/ 430689 h 959857"/>
                <a:gd name="connsiteX7" fmla="*/ 15661 w 174519"/>
                <a:gd name="connsiteY7" fmla="*/ 480552 h 959857"/>
                <a:gd name="connsiteX8" fmla="*/ 43086 w 174519"/>
                <a:gd name="connsiteY8" fmla="*/ 671277 h 959857"/>
                <a:gd name="connsiteX9" fmla="*/ 94195 w 174519"/>
                <a:gd name="connsiteY9" fmla="*/ 820865 h 959857"/>
                <a:gd name="connsiteX10" fmla="*/ 136578 w 174519"/>
                <a:gd name="connsiteY10" fmla="*/ 919344 h 959857"/>
                <a:gd name="connsiteX11" fmla="*/ 149044 w 174519"/>
                <a:gd name="connsiteY11" fmla="*/ 945522 h 959857"/>
                <a:gd name="connsiteX12" fmla="*/ 152784 w 174519"/>
                <a:gd name="connsiteY12" fmla="*/ 954248 h 959857"/>
                <a:gd name="connsiteX13" fmla="*/ 147797 w 174519"/>
                <a:gd name="connsiteY13" fmla="*/ 945522 h 959857"/>
                <a:gd name="connsiteX14" fmla="*/ 134085 w 174519"/>
                <a:gd name="connsiteY14" fmla="*/ 919344 h 959857"/>
                <a:gd name="connsiteX15" fmla="*/ 90455 w 174519"/>
                <a:gd name="connsiteY15" fmla="*/ 822112 h 959857"/>
                <a:gd name="connsiteX16" fmla="*/ 38099 w 174519"/>
                <a:gd name="connsiteY16" fmla="*/ 672523 h 959857"/>
                <a:gd name="connsiteX17" fmla="*/ 9428 w 174519"/>
                <a:gd name="connsiteY17" fmla="*/ 480552 h 959857"/>
                <a:gd name="connsiteX18" fmla="*/ 15661 w 174519"/>
                <a:gd name="connsiteY18" fmla="*/ 429443 h 959857"/>
                <a:gd name="connsiteX19" fmla="*/ 30620 w 174519"/>
                <a:gd name="connsiteY19" fmla="*/ 382073 h 959857"/>
                <a:gd name="connsiteX20" fmla="*/ 64277 w 174519"/>
                <a:gd name="connsiteY20" fmla="*/ 294813 h 959857"/>
                <a:gd name="connsiteX21" fmla="*/ 120372 w 174519"/>
                <a:gd name="connsiteY21" fmla="*/ 146472 h 959857"/>
                <a:gd name="connsiteX22" fmla="*/ 159016 w 174519"/>
                <a:gd name="connsiteY22" fmla="*/ 46746 h 959857"/>
                <a:gd name="connsiteX23" fmla="*/ 170235 w 174519"/>
                <a:gd name="connsiteY23" fmla="*/ 19322 h 959857"/>
                <a:gd name="connsiteX24" fmla="*/ 172728 w 174519"/>
                <a:gd name="connsiteY24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4519" h="959857">
                  <a:moveTo>
                    <a:pt x="172728" y="9349"/>
                  </a:moveTo>
                  <a:cubicBezTo>
                    <a:pt x="172728" y="9349"/>
                    <a:pt x="171482" y="13089"/>
                    <a:pt x="170235" y="19322"/>
                  </a:cubicBezTo>
                  <a:cubicBezTo>
                    <a:pt x="167742" y="26801"/>
                    <a:pt x="164002" y="35527"/>
                    <a:pt x="160263" y="46746"/>
                  </a:cubicBezTo>
                  <a:cubicBezTo>
                    <a:pt x="150290" y="72924"/>
                    <a:pt x="137825" y="106581"/>
                    <a:pt x="122866" y="147718"/>
                  </a:cubicBezTo>
                  <a:cubicBezTo>
                    <a:pt x="106660" y="191348"/>
                    <a:pt x="87962" y="241211"/>
                    <a:pt x="68017" y="296060"/>
                  </a:cubicBezTo>
                  <a:cubicBezTo>
                    <a:pt x="58044" y="324731"/>
                    <a:pt x="46825" y="353402"/>
                    <a:pt x="35606" y="383320"/>
                  </a:cubicBezTo>
                  <a:cubicBezTo>
                    <a:pt x="29373" y="398278"/>
                    <a:pt x="25633" y="414484"/>
                    <a:pt x="21894" y="430689"/>
                  </a:cubicBezTo>
                  <a:cubicBezTo>
                    <a:pt x="19401" y="446895"/>
                    <a:pt x="16907" y="464347"/>
                    <a:pt x="15661" y="480552"/>
                  </a:cubicBezTo>
                  <a:cubicBezTo>
                    <a:pt x="14414" y="549113"/>
                    <a:pt x="28127" y="613935"/>
                    <a:pt x="43086" y="671277"/>
                  </a:cubicBezTo>
                  <a:cubicBezTo>
                    <a:pt x="59291" y="728619"/>
                    <a:pt x="76742" y="779728"/>
                    <a:pt x="94195" y="820865"/>
                  </a:cubicBezTo>
                  <a:cubicBezTo>
                    <a:pt x="110400" y="863249"/>
                    <a:pt x="125359" y="895659"/>
                    <a:pt x="136578" y="919344"/>
                  </a:cubicBezTo>
                  <a:cubicBezTo>
                    <a:pt x="141564" y="929317"/>
                    <a:pt x="145304" y="938043"/>
                    <a:pt x="149044" y="945522"/>
                  </a:cubicBezTo>
                  <a:cubicBezTo>
                    <a:pt x="151536" y="951755"/>
                    <a:pt x="152784" y="954248"/>
                    <a:pt x="152784" y="954248"/>
                  </a:cubicBezTo>
                  <a:cubicBezTo>
                    <a:pt x="152784" y="954248"/>
                    <a:pt x="150290" y="951755"/>
                    <a:pt x="147797" y="945522"/>
                  </a:cubicBezTo>
                  <a:cubicBezTo>
                    <a:pt x="144057" y="938043"/>
                    <a:pt x="140318" y="929317"/>
                    <a:pt x="134085" y="919344"/>
                  </a:cubicBezTo>
                  <a:cubicBezTo>
                    <a:pt x="122866" y="896906"/>
                    <a:pt x="107907" y="863249"/>
                    <a:pt x="90455" y="822112"/>
                  </a:cubicBezTo>
                  <a:cubicBezTo>
                    <a:pt x="73003" y="779728"/>
                    <a:pt x="54304" y="729866"/>
                    <a:pt x="38099" y="672523"/>
                  </a:cubicBezTo>
                  <a:cubicBezTo>
                    <a:pt x="21894" y="615182"/>
                    <a:pt x="8181" y="549113"/>
                    <a:pt x="9428" y="480552"/>
                  </a:cubicBezTo>
                  <a:cubicBezTo>
                    <a:pt x="10674" y="463100"/>
                    <a:pt x="11921" y="445648"/>
                    <a:pt x="15661" y="429443"/>
                  </a:cubicBezTo>
                  <a:cubicBezTo>
                    <a:pt x="20647" y="413237"/>
                    <a:pt x="23140" y="397032"/>
                    <a:pt x="30620" y="382073"/>
                  </a:cubicBezTo>
                  <a:cubicBezTo>
                    <a:pt x="41839" y="352156"/>
                    <a:pt x="53058" y="322238"/>
                    <a:pt x="64277" y="294813"/>
                  </a:cubicBezTo>
                  <a:cubicBezTo>
                    <a:pt x="85469" y="239964"/>
                    <a:pt x="104167" y="188855"/>
                    <a:pt x="120372" y="146472"/>
                  </a:cubicBezTo>
                  <a:cubicBezTo>
                    <a:pt x="136578" y="105335"/>
                    <a:pt x="149044" y="71678"/>
                    <a:pt x="159016" y="46746"/>
                  </a:cubicBezTo>
                  <a:cubicBezTo>
                    <a:pt x="162756" y="36774"/>
                    <a:pt x="166495" y="26801"/>
                    <a:pt x="170235" y="19322"/>
                  </a:cubicBezTo>
                  <a:cubicBezTo>
                    <a:pt x="170235" y="11842"/>
                    <a:pt x="172728" y="9349"/>
                    <a:pt x="17272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5A2C8E7C-2E1D-4FFC-BD73-08131D8415E7}"/>
                </a:ext>
              </a:extLst>
            </p:cNvPr>
            <p:cNvSpPr/>
            <p:nvPr/>
          </p:nvSpPr>
          <p:spPr>
            <a:xfrm>
              <a:off x="10545954" y="3749682"/>
              <a:ext cx="286711" cy="1022186"/>
            </a:xfrm>
            <a:custGeom>
              <a:avLst/>
              <a:gdLst>
                <a:gd name="connsiteX0" fmla="*/ 280226 w 286710"/>
                <a:gd name="connsiteY0" fmla="*/ 9349 h 1022185"/>
                <a:gd name="connsiteX1" fmla="*/ 272746 w 286710"/>
                <a:gd name="connsiteY1" fmla="*/ 18075 h 1022185"/>
                <a:gd name="connsiteX2" fmla="*/ 250308 w 286710"/>
                <a:gd name="connsiteY2" fmla="*/ 43007 h 1022185"/>
                <a:gd name="connsiteX3" fmla="*/ 170528 w 286710"/>
                <a:gd name="connsiteY3" fmla="*/ 135253 h 1022185"/>
                <a:gd name="connsiteX4" fmla="*/ 59583 w 286710"/>
                <a:gd name="connsiteY4" fmla="*/ 277361 h 1022185"/>
                <a:gd name="connsiteX5" fmla="*/ 32158 w 286710"/>
                <a:gd name="connsiteY5" fmla="*/ 320991 h 1022185"/>
                <a:gd name="connsiteX6" fmla="*/ 13460 w 286710"/>
                <a:gd name="connsiteY6" fmla="*/ 370854 h 1022185"/>
                <a:gd name="connsiteX7" fmla="*/ 18447 w 286710"/>
                <a:gd name="connsiteY7" fmla="*/ 484292 h 1022185"/>
                <a:gd name="connsiteX8" fmla="*/ 78282 w 286710"/>
                <a:gd name="connsiteY8" fmla="*/ 696208 h 1022185"/>
                <a:gd name="connsiteX9" fmla="*/ 143103 w 286710"/>
                <a:gd name="connsiteY9" fmla="*/ 864495 h 1022185"/>
                <a:gd name="connsiteX10" fmla="*/ 190473 w 286710"/>
                <a:gd name="connsiteY10" fmla="*/ 976686 h 1022185"/>
                <a:gd name="connsiteX11" fmla="*/ 204185 w 286710"/>
                <a:gd name="connsiteY11" fmla="*/ 1006604 h 1022185"/>
                <a:gd name="connsiteX12" fmla="*/ 209171 w 286710"/>
                <a:gd name="connsiteY12" fmla="*/ 1017823 h 1022185"/>
                <a:gd name="connsiteX13" fmla="*/ 204185 w 286710"/>
                <a:gd name="connsiteY13" fmla="*/ 1007851 h 1022185"/>
                <a:gd name="connsiteX14" fmla="*/ 190473 w 286710"/>
                <a:gd name="connsiteY14" fmla="*/ 977933 h 1022185"/>
                <a:gd name="connsiteX15" fmla="*/ 141856 w 286710"/>
                <a:gd name="connsiteY15" fmla="*/ 866988 h 1022185"/>
                <a:gd name="connsiteX16" fmla="*/ 77035 w 286710"/>
                <a:gd name="connsiteY16" fmla="*/ 698702 h 1022185"/>
                <a:gd name="connsiteX17" fmla="*/ 17199 w 286710"/>
                <a:gd name="connsiteY17" fmla="*/ 485539 h 1022185"/>
                <a:gd name="connsiteX18" fmla="*/ 12214 w 286710"/>
                <a:gd name="connsiteY18" fmla="*/ 370854 h 1022185"/>
                <a:gd name="connsiteX19" fmla="*/ 32158 w 286710"/>
                <a:gd name="connsiteY19" fmla="*/ 319745 h 1022185"/>
                <a:gd name="connsiteX20" fmla="*/ 59583 w 286710"/>
                <a:gd name="connsiteY20" fmla="*/ 274869 h 1022185"/>
                <a:gd name="connsiteX21" fmla="*/ 171774 w 286710"/>
                <a:gd name="connsiteY21" fmla="*/ 132759 h 1022185"/>
                <a:gd name="connsiteX22" fmla="*/ 252801 w 286710"/>
                <a:gd name="connsiteY22" fmla="*/ 41760 h 1022185"/>
                <a:gd name="connsiteX23" fmla="*/ 275239 w 286710"/>
                <a:gd name="connsiteY23" fmla="*/ 18075 h 1022185"/>
                <a:gd name="connsiteX24" fmla="*/ 280226 w 286710"/>
                <a:gd name="connsiteY24" fmla="*/ 9349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6710" h="1022185">
                  <a:moveTo>
                    <a:pt x="280226" y="9349"/>
                  </a:moveTo>
                  <a:cubicBezTo>
                    <a:pt x="280226" y="9349"/>
                    <a:pt x="277733" y="13089"/>
                    <a:pt x="272746" y="18075"/>
                  </a:cubicBezTo>
                  <a:cubicBezTo>
                    <a:pt x="266513" y="24308"/>
                    <a:pt x="259034" y="33034"/>
                    <a:pt x="250308" y="43007"/>
                  </a:cubicBezTo>
                  <a:cubicBezTo>
                    <a:pt x="231609" y="64198"/>
                    <a:pt x="202938" y="95362"/>
                    <a:pt x="170528" y="135253"/>
                  </a:cubicBezTo>
                  <a:cubicBezTo>
                    <a:pt x="136871" y="175143"/>
                    <a:pt x="98226" y="221266"/>
                    <a:pt x="59583" y="277361"/>
                  </a:cubicBezTo>
                  <a:cubicBezTo>
                    <a:pt x="50857" y="291074"/>
                    <a:pt x="40885" y="306033"/>
                    <a:pt x="32158" y="320991"/>
                  </a:cubicBezTo>
                  <a:cubicBezTo>
                    <a:pt x="23432" y="335950"/>
                    <a:pt x="15953" y="352156"/>
                    <a:pt x="13460" y="370854"/>
                  </a:cubicBezTo>
                  <a:cubicBezTo>
                    <a:pt x="7227" y="407004"/>
                    <a:pt x="12214" y="445648"/>
                    <a:pt x="18447" y="484292"/>
                  </a:cubicBezTo>
                  <a:cubicBezTo>
                    <a:pt x="32158" y="561579"/>
                    <a:pt x="55844" y="632633"/>
                    <a:pt x="78282" y="696208"/>
                  </a:cubicBezTo>
                  <a:cubicBezTo>
                    <a:pt x="100720" y="759784"/>
                    <a:pt x="123158" y="817126"/>
                    <a:pt x="143103" y="864495"/>
                  </a:cubicBezTo>
                  <a:cubicBezTo>
                    <a:pt x="163048" y="911865"/>
                    <a:pt x="179253" y="950508"/>
                    <a:pt x="190473" y="976686"/>
                  </a:cubicBezTo>
                  <a:cubicBezTo>
                    <a:pt x="195459" y="989152"/>
                    <a:pt x="200445" y="999124"/>
                    <a:pt x="204185" y="1006604"/>
                  </a:cubicBezTo>
                  <a:cubicBezTo>
                    <a:pt x="206678" y="1014083"/>
                    <a:pt x="209171" y="1017823"/>
                    <a:pt x="209171" y="1017823"/>
                  </a:cubicBezTo>
                  <a:cubicBezTo>
                    <a:pt x="209171" y="1017823"/>
                    <a:pt x="206678" y="1014083"/>
                    <a:pt x="204185" y="1007851"/>
                  </a:cubicBezTo>
                  <a:cubicBezTo>
                    <a:pt x="200445" y="999124"/>
                    <a:pt x="195459" y="990399"/>
                    <a:pt x="190473" y="977933"/>
                  </a:cubicBezTo>
                  <a:cubicBezTo>
                    <a:pt x="178007" y="951755"/>
                    <a:pt x="161802" y="914358"/>
                    <a:pt x="141856" y="866988"/>
                  </a:cubicBezTo>
                  <a:cubicBezTo>
                    <a:pt x="121912" y="819619"/>
                    <a:pt x="99473" y="762276"/>
                    <a:pt x="77035" y="698702"/>
                  </a:cubicBezTo>
                  <a:cubicBezTo>
                    <a:pt x="54597" y="635127"/>
                    <a:pt x="30912" y="562826"/>
                    <a:pt x="17199" y="485539"/>
                  </a:cubicBezTo>
                  <a:cubicBezTo>
                    <a:pt x="10967" y="446895"/>
                    <a:pt x="5981" y="408251"/>
                    <a:pt x="12214" y="370854"/>
                  </a:cubicBezTo>
                  <a:cubicBezTo>
                    <a:pt x="14707" y="352156"/>
                    <a:pt x="23432" y="334704"/>
                    <a:pt x="32158" y="319745"/>
                  </a:cubicBezTo>
                  <a:cubicBezTo>
                    <a:pt x="40885" y="303539"/>
                    <a:pt x="50857" y="289827"/>
                    <a:pt x="59583" y="274869"/>
                  </a:cubicBezTo>
                  <a:cubicBezTo>
                    <a:pt x="98226" y="218773"/>
                    <a:pt x="138117" y="171403"/>
                    <a:pt x="171774" y="132759"/>
                  </a:cubicBezTo>
                  <a:cubicBezTo>
                    <a:pt x="205432" y="94116"/>
                    <a:pt x="232856" y="62952"/>
                    <a:pt x="252801" y="41760"/>
                  </a:cubicBezTo>
                  <a:cubicBezTo>
                    <a:pt x="261527" y="31788"/>
                    <a:pt x="269006" y="24308"/>
                    <a:pt x="275239" y="18075"/>
                  </a:cubicBezTo>
                  <a:cubicBezTo>
                    <a:pt x="276486" y="11843"/>
                    <a:pt x="280226" y="9349"/>
                    <a:pt x="28022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557B4577-7945-4C01-A5DA-1B7933947DA4}"/>
                </a:ext>
              </a:extLst>
            </p:cNvPr>
            <p:cNvSpPr/>
            <p:nvPr/>
          </p:nvSpPr>
          <p:spPr>
            <a:xfrm>
              <a:off x="10707133" y="4755974"/>
              <a:ext cx="87260" cy="24931"/>
            </a:xfrm>
            <a:custGeom>
              <a:avLst/>
              <a:gdLst>
                <a:gd name="connsiteX0" fmla="*/ 81650 w 87259"/>
                <a:gd name="connsiteY0" fmla="*/ 10284 h 24931"/>
                <a:gd name="connsiteX1" fmla="*/ 45499 w 87259"/>
                <a:gd name="connsiteY1" fmla="*/ 15270 h 24931"/>
                <a:gd name="connsiteX2" fmla="*/ 9349 w 87259"/>
                <a:gd name="connsiteY2" fmla="*/ 15270 h 24931"/>
                <a:gd name="connsiteX3" fmla="*/ 45499 w 87259"/>
                <a:gd name="connsiteY3" fmla="*/ 10284 h 24931"/>
                <a:gd name="connsiteX4" fmla="*/ 81650 w 87259"/>
                <a:gd name="connsiteY4" fmla="*/ 1028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59" h="24931">
                  <a:moveTo>
                    <a:pt x="81650" y="10284"/>
                  </a:moveTo>
                  <a:cubicBezTo>
                    <a:pt x="81650" y="11531"/>
                    <a:pt x="65445" y="14024"/>
                    <a:pt x="45499" y="15270"/>
                  </a:cubicBezTo>
                  <a:cubicBezTo>
                    <a:pt x="25554" y="16517"/>
                    <a:pt x="9349" y="16517"/>
                    <a:pt x="9349" y="15270"/>
                  </a:cubicBezTo>
                  <a:cubicBezTo>
                    <a:pt x="9349" y="14024"/>
                    <a:pt x="25554" y="11531"/>
                    <a:pt x="45499" y="10284"/>
                  </a:cubicBezTo>
                  <a:cubicBezTo>
                    <a:pt x="65445" y="9038"/>
                    <a:pt x="81650" y="9038"/>
                    <a:pt x="81650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EFED4E50-9044-4594-BFEC-033F50C51C24}"/>
                </a:ext>
              </a:extLst>
            </p:cNvPr>
            <p:cNvSpPr/>
            <p:nvPr/>
          </p:nvSpPr>
          <p:spPr>
            <a:xfrm>
              <a:off x="10931515" y="4694257"/>
              <a:ext cx="99725" cy="24931"/>
            </a:xfrm>
            <a:custGeom>
              <a:avLst/>
              <a:gdLst>
                <a:gd name="connsiteX0" fmla="*/ 92869 w 99725"/>
                <a:gd name="connsiteY0" fmla="*/ 9674 h 24931"/>
                <a:gd name="connsiteX1" fmla="*/ 51732 w 99725"/>
                <a:gd name="connsiteY1" fmla="*/ 19646 h 24931"/>
                <a:gd name="connsiteX2" fmla="*/ 9349 w 99725"/>
                <a:gd name="connsiteY2" fmla="*/ 24632 h 24931"/>
                <a:gd name="connsiteX3" fmla="*/ 50486 w 99725"/>
                <a:gd name="connsiteY3" fmla="*/ 14660 h 24931"/>
                <a:gd name="connsiteX4" fmla="*/ 92869 w 99725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" h="24931">
                  <a:moveTo>
                    <a:pt x="92869" y="9674"/>
                  </a:moveTo>
                  <a:cubicBezTo>
                    <a:pt x="92869" y="10920"/>
                    <a:pt x="75417" y="15906"/>
                    <a:pt x="51732" y="19646"/>
                  </a:cubicBezTo>
                  <a:cubicBezTo>
                    <a:pt x="29294" y="23386"/>
                    <a:pt x="10596" y="25879"/>
                    <a:pt x="9349" y="24632"/>
                  </a:cubicBezTo>
                  <a:cubicBezTo>
                    <a:pt x="9349" y="23386"/>
                    <a:pt x="26801" y="18399"/>
                    <a:pt x="50486" y="14660"/>
                  </a:cubicBezTo>
                  <a:cubicBezTo>
                    <a:pt x="74170" y="10920"/>
                    <a:pt x="92869" y="8427"/>
                    <a:pt x="92869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E6DB659F-5AE6-4FF1-9030-53B0DCD1364B}"/>
                </a:ext>
              </a:extLst>
            </p:cNvPr>
            <p:cNvSpPr/>
            <p:nvPr/>
          </p:nvSpPr>
          <p:spPr>
            <a:xfrm>
              <a:off x="11021669" y="3719727"/>
              <a:ext cx="49863" cy="137123"/>
            </a:xfrm>
            <a:custGeom>
              <a:avLst/>
              <a:gdLst>
                <a:gd name="connsiteX0" fmla="*/ 48838 w 49862"/>
                <a:gd name="connsiteY0" fmla="*/ 131550 h 137122"/>
                <a:gd name="connsiteX1" fmla="*/ 28893 w 49862"/>
                <a:gd name="connsiteY1" fmla="*/ 124071 h 137122"/>
                <a:gd name="connsiteX2" fmla="*/ 10195 w 49862"/>
                <a:gd name="connsiteY2" fmla="*/ 77948 h 137122"/>
                <a:gd name="connsiteX3" fmla="*/ 23907 w 49862"/>
                <a:gd name="connsiteY3" fmla="*/ 9387 h 137122"/>
                <a:gd name="connsiteX4" fmla="*/ 15181 w 49862"/>
                <a:gd name="connsiteY4" fmla="*/ 76701 h 137122"/>
                <a:gd name="connsiteX5" fmla="*/ 31387 w 49862"/>
                <a:gd name="connsiteY5" fmla="*/ 121578 h 137122"/>
                <a:gd name="connsiteX6" fmla="*/ 48838 w 49862"/>
                <a:gd name="connsiteY6" fmla="*/ 1315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62" h="137122">
                  <a:moveTo>
                    <a:pt x="48838" y="131550"/>
                  </a:moveTo>
                  <a:cubicBezTo>
                    <a:pt x="50085" y="131550"/>
                    <a:pt x="38866" y="134044"/>
                    <a:pt x="28893" y="124071"/>
                  </a:cubicBezTo>
                  <a:cubicBezTo>
                    <a:pt x="18921" y="114098"/>
                    <a:pt x="12688" y="96647"/>
                    <a:pt x="10195" y="77948"/>
                  </a:cubicBezTo>
                  <a:cubicBezTo>
                    <a:pt x="5208" y="38058"/>
                    <a:pt x="23907" y="8140"/>
                    <a:pt x="23907" y="9387"/>
                  </a:cubicBezTo>
                  <a:cubicBezTo>
                    <a:pt x="25154" y="9387"/>
                    <a:pt x="10195" y="39304"/>
                    <a:pt x="15181" y="76701"/>
                  </a:cubicBezTo>
                  <a:cubicBezTo>
                    <a:pt x="17674" y="95400"/>
                    <a:pt x="23907" y="112852"/>
                    <a:pt x="31387" y="121578"/>
                  </a:cubicBezTo>
                  <a:cubicBezTo>
                    <a:pt x="40112" y="131550"/>
                    <a:pt x="48838" y="131550"/>
                    <a:pt x="48838" y="13155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95B49AEA-442A-465D-B27D-703ED88056B6}"/>
                </a:ext>
              </a:extLst>
            </p:cNvPr>
            <p:cNvSpPr/>
            <p:nvPr/>
          </p:nvSpPr>
          <p:spPr>
            <a:xfrm>
              <a:off x="10724584" y="3680980"/>
              <a:ext cx="149588" cy="74794"/>
            </a:xfrm>
            <a:custGeom>
              <a:avLst/>
              <a:gdLst>
                <a:gd name="connsiteX0" fmla="*/ 150211 w 149588"/>
                <a:gd name="connsiteY0" fmla="*/ 9490 h 74794"/>
                <a:gd name="connsiteX1" fmla="*/ 136499 w 149588"/>
                <a:gd name="connsiteY1" fmla="*/ 28189 h 74794"/>
                <a:gd name="connsiteX2" fmla="*/ 89130 w 149588"/>
                <a:gd name="connsiteY2" fmla="*/ 59353 h 74794"/>
                <a:gd name="connsiteX3" fmla="*/ 33034 w 149588"/>
                <a:gd name="connsiteY3" fmla="*/ 69326 h 74794"/>
                <a:gd name="connsiteX4" fmla="*/ 9349 w 149588"/>
                <a:gd name="connsiteY4" fmla="*/ 65586 h 74794"/>
                <a:gd name="connsiteX5" fmla="*/ 86637 w 149588"/>
                <a:gd name="connsiteY5" fmla="*/ 54367 h 74794"/>
                <a:gd name="connsiteX6" fmla="*/ 150211 w 149588"/>
                <a:gd name="connsiteY6" fmla="*/ 9490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588" h="74794">
                  <a:moveTo>
                    <a:pt x="150211" y="9490"/>
                  </a:moveTo>
                  <a:cubicBezTo>
                    <a:pt x="150211" y="9490"/>
                    <a:pt x="146472" y="18216"/>
                    <a:pt x="136499" y="28189"/>
                  </a:cubicBezTo>
                  <a:cubicBezTo>
                    <a:pt x="126527" y="38162"/>
                    <a:pt x="110322" y="50627"/>
                    <a:pt x="89130" y="59353"/>
                  </a:cubicBezTo>
                  <a:cubicBezTo>
                    <a:pt x="67938" y="68079"/>
                    <a:pt x="47993" y="70572"/>
                    <a:pt x="33034" y="69326"/>
                  </a:cubicBezTo>
                  <a:cubicBezTo>
                    <a:pt x="18075" y="69326"/>
                    <a:pt x="9349" y="66833"/>
                    <a:pt x="9349" y="65586"/>
                  </a:cubicBezTo>
                  <a:cubicBezTo>
                    <a:pt x="9349" y="64339"/>
                    <a:pt x="45500" y="70572"/>
                    <a:pt x="86637" y="54367"/>
                  </a:cubicBezTo>
                  <a:cubicBezTo>
                    <a:pt x="127773" y="38162"/>
                    <a:pt x="148965" y="6997"/>
                    <a:pt x="150211" y="94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27ED472F-61B5-478F-B94F-78CF5152912F}"/>
                </a:ext>
              </a:extLst>
            </p:cNvPr>
            <p:cNvSpPr/>
            <p:nvPr/>
          </p:nvSpPr>
          <p:spPr>
            <a:xfrm>
              <a:off x="10844142" y="3681121"/>
              <a:ext cx="74794" cy="137123"/>
            </a:xfrm>
            <a:custGeom>
              <a:avLst/>
              <a:gdLst>
                <a:gd name="connsiteX0" fmla="*/ 76776 w 74794"/>
                <a:gd name="connsiteY0" fmla="*/ 9349 h 137122"/>
                <a:gd name="connsiteX1" fmla="*/ 68050 w 74794"/>
                <a:gd name="connsiteY1" fmla="*/ 29294 h 137122"/>
                <a:gd name="connsiteX2" fmla="*/ 43119 w 74794"/>
                <a:gd name="connsiteY2" fmla="*/ 75418 h 137122"/>
                <a:gd name="connsiteX3" fmla="*/ 14448 w 74794"/>
                <a:gd name="connsiteY3" fmla="*/ 119048 h 137122"/>
                <a:gd name="connsiteX4" fmla="*/ 19434 w 74794"/>
                <a:gd name="connsiteY4" fmla="*/ 130267 h 137122"/>
                <a:gd name="connsiteX5" fmla="*/ 24420 w 74794"/>
                <a:gd name="connsiteY5" fmla="*/ 132759 h 137122"/>
                <a:gd name="connsiteX6" fmla="*/ 18187 w 74794"/>
                <a:gd name="connsiteY6" fmla="*/ 131513 h 137122"/>
                <a:gd name="connsiteX7" fmla="*/ 11954 w 74794"/>
                <a:gd name="connsiteY7" fmla="*/ 127773 h 137122"/>
                <a:gd name="connsiteX8" fmla="*/ 10708 w 74794"/>
                <a:gd name="connsiteY8" fmla="*/ 117801 h 137122"/>
                <a:gd name="connsiteX9" fmla="*/ 38133 w 74794"/>
                <a:gd name="connsiteY9" fmla="*/ 72924 h 137122"/>
                <a:gd name="connsiteX10" fmla="*/ 76776 w 74794"/>
                <a:gd name="connsiteY10" fmla="*/ 934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794" h="137122">
                  <a:moveTo>
                    <a:pt x="76776" y="9349"/>
                  </a:moveTo>
                  <a:cubicBezTo>
                    <a:pt x="76776" y="9349"/>
                    <a:pt x="74283" y="16829"/>
                    <a:pt x="68050" y="29294"/>
                  </a:cubicBezTo>
                  <a:cubicBezTo>
                    <a:pt x="61817" y="41760"/>
                    <a:pt x="54338" y="57965"/>
                    <a:pt x="43119" y="75418"/>
                  </a:cubicBezTo>
                  <a:cubicBezTo>
                    <a:pt x="33146" y="92869"/>
                    <a:pt x="21928" y="109075"/>
                    <a:pt x="14448" y="119048"/>
                  </a:cubicBezTo>
                  <a:cubicBezTo>
                    <a:pt x="11954" y="124034"/>
                    <a:pt x="16941" y="127773"/>
                    <a:pt x="19434" y="130267"/>
                  </a:cubicBezTo>
                  <a:cubicBezTo>
                    <a:pt x="23174" y="131513"/>
                    <a:pt x="24420" y="132759"/>
                    <a:pt x="24420" y="132759"/>
                  </a:cubicBezTo>
                  <a:cubicBezTo>
                    <a:pt x="24420" y="132759"/>
                    <a:pt x="21928" y="132759"/>
                    <a:pt x="18187" y="131513"/>
                  </a:cubicBezTo>
                  <a:cubicBezTo>
                    <a:pt x="16941" y="131513"/>
                    <a:pt x="14448" y="130267"/>
                    <a:pt x="11954" y="127773"/>
                  </a:cubicBezTo>
                  <a:cubicBezTo>
                    <a:pt x="9462" y="125280"/>
                    <a:pt x="8215" y="121540"/>
                    <a:pt x="10708" y="117801"/>
                  </a:cubicBezTo>
                  <a:cubicBezTo>
                    <a:pt x="18187" y="105335"/>
                    <a:pt x="28160" y="90376"/>
                    <a:pt x="38133" y="72924"/>
                  </a:cubicBezTo>
                  <a:cubicBezTo>
                    <a:pt x="60571" y="38021"/>
                    <a:pt x="75530" y="9349"/>
                    <a:pt x="7677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3BE4A21F-6435-4B35-9997-A9F93BB2D1B0}"/>
                </a:ext>
              </a:extLst>
            </p:cNvPr>
            <p:cNvSpPr/>
            <p:nvPr/>
          </p:nvSpPr>
          <p:spPr>
            <a:xfrm>
              <a:off x="10924035" y="3693586"/>
              <a:ext cx="24931" cy="24931"/>
            </a:xfrm>
            <a:custGeom>
              <a:avLst/>
              <a:gdLst>
                <a:gd name="connsiteX0" fmla="*/ 16829 w 24931"/>
                <a:gd name="connsiteY0" fmla="*/ 9349 h 24931"/>
                <a:gd name="connsiteX1" fmla="*/ 9349 w 24931"/>
                <a:gd name="connsiteY1" fmla="*/ 19322 h 24931"/>
                <a:gd name="connsiteX2" fmla="*/ 16829 w 24931"/>
                <a:gd name="connsiteY2" fmla="*/ 26801 h 24931"/>
                <a:gd name="connsiteX3" fmla="*/ 20569 w 24931"/>
                <a:gd name="connsiteY3" fmla="*/ 24308 h 24931"/>
                <a:gd name="connsiteX4" fmla="*/ 16829 w 24931"/>
                <a:gd name="connsiteY4" fmla="*/ 9349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24931">
                  <a:moveTo>
                    <a:pt x="16829" y="9349"/>
                  </a:moveTo>
                  <a:cubicBezTo>
                    <a:pt x="13089" y="11843"/>
                    <a:pt x="10596" y="14335"/>
                    <a:pt x="9349" y="19322"/>
                  </a:cubicBezTo>
                  <a:cubicBezTo>
                    <a:pt x="9349" y="23062"/>
                    <a:pt x="13089" y="28048"/>
                    <a:pt x="16829" y="26801"/>
                  </a:cubicBezTo>
                  <a:cubicBezTo>
                    <a:pt x="18075" y="26801"/>
                    <a:pt x="19322" y="25555"/>
                    <a:pt x="20569" y="24308"/>
                  </a:cubicBezTo>
                  <a:cubicBezTo>
                    <a:pt x="23062" y="19322"/>
                    <a:pt x="21815" y="11843"/>
                    <a:pt x="16829" y="934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CB9A71D5-1778-4FD8-B499-FF88B064C4BB}"/>
                </a:ext>
              </a:extLst>
            </p:cNvPr>
            <p:cNvSpPr/>
            <p:nvPr/>
          </p:nvSpPr>
          <p:spPr>
            <a:xfrm>
              <a:off x="10760735" y="3682367"/>
              <a:ext cx="373970" cy="87260"/>
            </a:xfrm>
            <a:custGeom>
              <a:avLst/>
              <a:gdLst>
                <a:gd name="connsiteX0" fmla="*/ 18075 w 373970"/>
                <a:gd name="connsiteY0" fmla="*/ 9349 h 87259"/>
                <a:gd name="connsiteX1" fmla="*/ 369607 w 373970"/>
                <a:gd name="connsiteY1" fmla="*/ 52979 h 87259"/>
                <a:gd name="connsiteX2" fmla="*/ 352156 w 373970"/>
                <a:gd name="connsiteY2" fmla="*/ 89130 h 87259"/>
                <a:gd name="connsiteX3" fmla="*/ 9349 w 373970"/>
                <a:gd name="connsiteY3" fmla="*/ 19322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0" h="87259">
                  <a:moveTo>
                    <a:pt x="18075" y="9349"/>
                  </a:moveTo>
                  <a:lnTo>
                    <a:pt x="369607" y="52979"/>
                  </a:lnTo>
                  <a:lnTo>
                    <a:pt x="352156" y="89130"/>
                  </a:lnTo>
                  <a:lnTo>
                    <a:pt x="9349" y="19322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A5BA2109-9741-42BB-A3C3-4A4B8479C0CF}"/>
                </a:ext>
              </a:extLst>
            </p:cNvPr>
            <p:cNvSpPr/>
            <p:nvPr/>
          </p:nvSpPr>
          <p:spPr>
            <a:xfrm>
              <a:off x="10548818" y="2890796"/>
              <a:ext cx="336573" cy="311642"/>
            </a:xfrm>
            <a:custGeom>
              <a:avLst/>
              <a:gdLst>
                <a:gd name="connsiteX0" fmla="*/ 9349 w 336573"/>
                <a:gd name="connsiteY0" fmla="*/ 84143 h 311642"/>
                <a:gd name="connsiteX1" fmla="*/ 70431 w 336573"/>
                <a:gd name="connsiteY1" fmla="*/ 212540 h 311642"/>
                <a:gd name="connsiteX2" fmla="*/ 146472 w 336573"/>
                <a:gd name="connsiteY2" fmla="*/ 239964 h 311642"/>
                <a:gd name="connsiteX3" fmla="*/ 163923 w 336573"/>
                <a:gd name="connsiteY3" fmla="*/ 232485 h 311642"/>
                <a:gd name="connsiteX4" fmla="*/ 228745 w 336573"/>
                <a:gd name="connsiteY4" fmla="*/ 306033 h 311642"/>
                <a:gd name="connsiteX5" fmla="*/ 330964 w 336573"/>
                <a:gd name="connsiteY5" fmla="*/ 216280 h 311642"/>
                <a:gd name="connsiteX6" fmla="*/ 147718 w 336573"/>
                <a:gd name="connsiteY6" fmla="*/ 9349 h 311642"/>
                <a:gd name="connsiteX7" fmla="*/ 9349 w 336573"/>
                <a:gd name="connsiteY7" fmla="*/ 8414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573" h="311642">
                  <a:moveTo>
                    <a:pt x="9349" y="84143"/>
                  </a:moveTo>
                  <a:lnTo>
                    <a:pt x="70431" y="212540"/>
                  </a:lnTo>
                  <a:cubicBezTo>
                    <a:pt x="84143" y="241211"/>
                    <a:pt x="117801" y="253677"/>
                    <a:pt x="146472" y="239964"/>
                  </a:cubicBezTo>
                  <a:lnTo>
                    <a:pt x="163923" y="232485"/>
                  </a:lnTo>
                  <a:lnTo>
                    <a:pt x="228745" y="306033"/>
                  </a:lnTo>
                  <a:lnTo>
                    <a:pt x="330964" y="216280"/>
                  </a:lnTo>
                  <a:lnTo>
                    <a:pt x="147718" y="9349"/>
                  </a:lnTo>
                  <a:lnTo>
                    <a:pt x="9349" y="84143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B6DA605A-05CB-4FFC-931F-DC00F6EF15D4}"/>
                </a:ext>
              </a:extLst>
            </p:cNvPr>
            <p:cNvSpPr/>
            <p:nvPr/>
          </p:nvSpPr>
          <p:spPr>
            <a:xfrm>
              <a:off x="10493642" y="2839735"/>
              <a:ext cx="336573" cy="249314"/>
            </a:xfrm>
            <a:custGeom>
              <a:avLst/>
              <a:gdLst>
                <a:gd name="connsiteX0" fmla="*/ 14663 w 336573"/>
                <a:gd name="connsiteY0" fmla="*/ 86589 h 249313"/>
                <a:gd name="connsiteX1" fmla="*/ 76991 w 336573"/>
                <a:gd name="connsiteY1" fmla="*/ 61657 h 249313"/>
                <a:gd name="connsiteX2" fmla="*/ 224086 w 336573"/>
                <a:gd name="connsiteY2" fmla="*/ 13041 h 249313"/>
                <a:gd name="connsiteX3" fmla="*/ 326305 w 336573"/>
                <a:gd name="connsiteY3" fmla="*/ 153903 h 249313"/>
                <a:gd name="connsiteX4" fmla="*/ 337523 w 336573"/>
                <a:gd name="connsiteY4" fmla="*/ 198780 h 249313"/>
                <a:gd name="connsiteX5" fmla="*/ 285168 w 336573"/>
                <a:gd name="connsiteY5" fmla="*/ 244903 h 249313"/>
                <a:gd name="connsiteX6" fmla="*/ 211620 w 336573"/>
                <a:gd name="connsiteY6" fmla="*/ 196286 h 249313"/>
                <a:gd name="connsiteX7" fmla="*/ 211620 w 336573"/>
                <a:gd name="connsiteY7" fmla="*/ 121492 h 249313"/>
                <a:gd name="connsiteX8" fmla="*/ 181702 w 336573"/>
                <a:gd name="connsiteY8" fmla="*/ 176342 h 249313"/>
                <a:gd name="connsiteX9" fmla="*/ 165497 w 336573"/>
                <a:gd name="connsiteY9" fmla="*/ 188807 h 249313"/>
                <a:gd name="connsiteX10" fmla="*/ 126854 w 336573"/>
                <a:gd name="connsiteY10" fmla="*/ 117753 h 249313"/>
                <a:gd name="connsiteX11" fmla="*/ 32114 w 336573"/>
                <a:gd name="connsiteY11" fmla="*/ 133958 h 249313"/>
                <a:gd name="connsiteX12" fmla="*/ 14663 w 336573"/>
                <a:gd name="connsiteY12" fmla="*/ 8658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6573" h="249313">
                  <a:moveTo>
                    <a:pt x="14663" y="86589"/>
                  </a:moveTo>
                  <a:cubicBezTo>
                    <a:pt x="14663" y="86589"/>
                    <a:pt x="20896" y="54178"/>
                    <a:pt x="76991" y="61657"/>
                  </a:cubicBezTo>
                  <a:cubicBezTo>
                    <a:pt x="131840" y="69137"/>
                    <a:pt x="165497" y="-8151"/>
                    <a:pt x="224086" y="13041"/>
                  </a:cubicBezTo>
                  <a:cubicBezTo>
                    <a:pt x="282675" y="34233"/>
                    <a:pt x="315085" y="94068"/>
                    <a:pt x="326305" y="153903"/>
                  </a:cubicBezTo>
                  <a:lnTo>
                    <a:pt x="337523" y="198780"/>
                  </a:lnTo>
                  <a:lnTo>
                    <a:pt x="285168" y="244903"/>
                  </a:lnTo>
                  <a:cubicBezTo>
                    <a:pt x="285168" y="244903"/>
                    <a:pt x="215360" y="218725"/>
                    <a:pt x="211620" y="196286"/>
                  </a:cubicBezTo>
                  <a:cubicBezTo>
                    <a:pt x="211620" y="196286"/>
                    <a:pt x="257743" y="133958"/>
                    <a:pt x="211620" y="121492"/>
                  </a:cubicBezTo>
                  <a:cubicBezTo>
                    <a:pt x="165497" y="109027"/>
                    <a:pt x="181702" y="176342"/>
                    <a:pt x="181702" y="176342"/>
                  </a:cubicBezTo>
                  <a:lnTo>
                    <a:pt x="165497" y="188807"/>
                  </a:lnTo>
                  <a:lnTo>
                    <a:pt x="126854" y="117753"/>
                  </a:lnTo>
                  <a:cubicBezTo>
                    <a:pt x="126854" y="117753"/>
                    <a:pt x="69511" y="157643"/>
                    <a:pt x="32114" y="133958"/>
                  </a:cubicBezTo>
                  <a:cubicBezTo>
                    <a:pt x="-5283" y="110273"/>
                    <a:pt x="14663" y="86589"/>
                    <a:pt x="14663" y="8658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AB698007-4840-4CF2-8614-6A0520FF282A}"/>
                </a:ext>
              </a:extLst>
            </p:cNvPr>
            <p:cNvSpPr/>
            <p:nvPr/>
          </p:nvSpPr>
          <p:spPr>
            <a:xfrm>
              <a:off x="10763228" y="3076535"/>
              <a:ext cx="149588" cy="149588"/>
            </a:xfrm>
            <a:custGeom>
              <a:avLst/>
              <a:gdLst>
                <a:gd name="connsiteX0" fmla="*/ 13089 w 149588"/>
                <a:gd name="connsiteY0" fmla="*/ 142732 h 149588"/>
                <a:gd name="connsiteX1" fmla="*/ 9349 w 149588"/>
                <a:gd name="connsiteY1" fmla="*/ 92869 h 149588"/>
                <a:gd name="connsiteX2" fmla="*/ 97855 w 149588"/>
                <a:gd name="connsiteY2" fmla="*/ 9349 h 149588"/>
                <a:gd name="connsiteX3" fmla="*/ 142731 w 149588"/>
                <a:gd name="connsiteY3" fmla="*/ 30541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88" h="149588">
                  <a:moveTo>
                    <a:pt x="13089" y="142732"/>
                  </a:moveTo>
                  <a:cubicBezTo>
                    <a:pt x="14335" y="137746"/>
                    <a:pt x="9349" y="92869"/>
                    <a:pt x="9349" y="92869"/>
                  </a:cubicBezTo>
                  <a:lnTo>
                    <a:pt x="97855" y="9349"/>
                  </a:lnTo>
                  <a:lnTo>
                    <a:pt x="142731" y="30541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9FCA91ED-6FCD-4065-B7D3-A877C85B214B}"/>
                </a:ext>
              </a:extLst>
            </p:cNvPr>
            <p:cNvSpPr/>
            <p:nvPr/>
          </p:nvSpPr>
          <p:spPr>
            <a:xfrm>
              <a:off x="10766968" y="3097727"/>
              <a:ext cx="149588" cy="124657"/>
            </a:xfrm>
            <a:custGeom>
              <a:avLst/>
              <a:gdLst>
                <a:gd name="connsiteX0" fmla="*/ 140239 w 149588"/>
                <a:gd name="connsiteY0" fmla="*/ 9349 h 124656"/>
                <a:gd name="connsiteX1" fmla="*/ 9349 w 149588"/>
                <a:gd name="connsiteY1" fmla="*/ 12154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88" h="124656">
                  <a:moveTo>
                    <a:pt x="140239" y="9349"/>
                  </a:moveTo>
                  <a:lnTo>
                    <a:pt x="9349" y="121540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9B7D2ADD-78F1-4D3F-ACE1-068BF2C18881}"/>
                </a:ext>
              </a:extLst>
            </p:cNvPr>
            <p:cNvSpPr/>
            <p:nvPr/>
          </p:nvSpPr>
          <p:spPr>
            <a:xfrm>
              <a:off x="10738297" y="3153822"/>
              <a:ext cx="49863" cy="211917"/>
            </a:xfrm>
            <a:custGeom>
              <a:avLst/>
              <a:gdLst>
                <a:gd name="connsiteX0" fmla="*/ 30540 w 49862"/>
                <a:gd name="connsiteY0" fmla="*/ 200074 h 211916"/>
                <a:gd name="connsiteX1" fmla="*/ 9349 w 49862"/>
                <a:gd name="connsiteY1" fmla="*/ 9349 h 211916"/>
                <a:gd name="connsiteX2" fmla="*/ 43006 w 49862"/>
                <a:gd name="connsiteY2" fmla="*/ 44253 h 211916"/>
                <a:gd name="connsiteX3" fmla="*/ 31787 w 49862"/>
                <a:gd name="connsiteY3" fmla="*/ 207554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62" h="211916">
                  <a:moveTo>
                    <a:pt x="30540" y="200074"/>
                  </a:moveTo>
                  <a:lnTo>
                    <a:pt x="9349" y="9349"/>
                  </a:lnTo>
                  <a:lnTo>
                    <a:pt x="43006" y="44253"/>
                  </a:lnTo>
                  <a:lnTo>
                    <a:pt x="31787" y="207554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F8EE645F-F1FA-4407-9EF1-B7CCD6FE0E3D}"/>
                </a:ext>
              </a:extLst>
            </p:cNvPr>
            <p:cNvSpPr/>
            <p:nvPr/>
          </p:nvSpPr>
          <p:spPr>
            <a:xfrm>
              <a:off x="10760735" y="3181247"/>
              <a:ext cx="49863" cy="199451"/>
            </a:xfrm>
            <a:custGeom>
              <a:avLst/>
              <a:gdLst>
                <a:gd name="connsiteX0" fmla="*/ 14335 w 49862"/>
                <a:gd name="connsiteY0" fmla="*/ 9349 h 199450"/>
                <a:gd name="connsiteX1" fmla="*/ 49240 w 49862"/>
                <a:gd name="connsiteY1" fmla="*/ 117801 h 199450"/>
                <a:gd name="connsiteX2" fmla="*/ 9349 w 49862"/>
                <a:gd name="connsiteY2" fmla="*/ 2000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199450">
                  <a:moveTo>
                    <a:pt x="14335" y="9349"/>
                  </a:moveTo>
                  <a:lnTo>
                    <a:pt x="49240" y="117801"/>
                  </a:lnTo>
                  <a:lnTo>
                    <a:pt x="9349" y="200074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45535E07-C241-493D-B6CB-D42079C8010C}"/>
                </a:ext>
              </a:extLst>
            </p:cNvPr>
            <p:cNvSpPr/>
            <p:nvPr/>
          </p:nvSpPr>
          <p:spPr>
            <a:xfrm>
              <a:off x="10723338" y="3153822"/>
              <a:ext cx="49863" cy="224382"/>
            </a:xfrm>
            <a:custGeom>
              <a:avLst/>
              <a:gdLst>
                <a:gd name="connsiteX0" fmla="*/ 45499 w 49862"/>
                <a:gd name="connsiteY0" fmla="*/ 221266 h 224382"/>
                <a:gd name="connsiteX1" fmla="*/ 9349 w 49862"/>
                <a:gd name="connsiteY1" fmla="*/ 85390 h 224382"/>
                <a:gd name="connsiteX2" fmla="*/ 24308 w 49862"/>
                <a:gd name="connsiteY2" fmla="*/ 9349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224382">
                  <a:moveTo>
                    <a:pt x="45499" y="221266"/>
                  </a:moveTo>
                  <a:lnTo>
                    <a:pt x="9349" y="85390"/>
                  </a:lnTo>
                  <a:lnTo>
                    <a:pt x="24308" y="9349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D1C7D1F0-D8D6-4E68-BF95-0CAF22B706A4}"/>
                </a:ext>
              </a:extLst>
            </p:cNvPr>
            <p:cNvSpPr/>
            <p:nvPr/>
          </p:nvSpPr>
          <p:spPr>
            <a:xfrm>
              <a:off x="10737050" y="3153822"/>
              <a:ext cx="37397" cy="99725"/>
            </a:xfrm>
            <a:custGeom>
              <a:avLst/>
              <a:gdLst>
                <a:gd name="connsiteX0" fmla="*/ 14336 w 37397"/>
                <a:gd name="connsiteY0" fmla="*/ 9349 h 99725"/>
                <a:gd name="connsiteX1" fmla="*/ 38020 w 37397"/>
                <a:gd name="connsiteY1" fmla="*/ 36774 h 99725"/>
                <a:gd name="connsiteX2" fmla="*/ 36774 w 37397"/>
                <a:gd name="connsiteY2" fmla="*/ 91623 h 99725"/>
                <a:gd name="connsiteX3" fmla="*/ 16829 w 37397"/>
                <a:gd name="connsiteY3" fmla="*/ 77911 h 99725"/>
                <a:gd name="connsiteX4" fmla="*/ 9349 w 37397"/>
                <a:gd name="connsiteY4" fmla="*/ 1682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99725">
                  <a:moveTo>
                    <a:pt x="14336" y="9349"/>
                  </a:moveTo>
                  <a:lnTo>
                    <a:pt x="38020" y="36774"/>
                  </a:lnTo>
                  <a:lnTo>
                    <a:pt x="36774" y="91623"/>
                  </a:lnTo>
                  <a:lnTo>
                    <a:pt x="16829" y="77911"/>
                  </a:lnTo>
                  <a:lnTo>
                    <a:pt x="9349" y="16829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F419463E-86BE-408E-8E84-CCFD33E5AE20}"/>
                </a:ext>
              </a:extLst>
            </p:cNvPr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0A2AB266-03A5-4063-AA13-EF3686DC9E99}"/>
                </a:ext>
              </a:extLst>
            </p:cNvPr>
            <p:cNvSpPr/>
            <p:nvPr/>
          </p:nvSpPr>
          <p:spPr>
            <a:xfrm>
              <a:off x="10456572" y="3229863"/>
              <a:ext cx="386436" cy="398902"/>
            </a:xfrm>
            <a:custGeom>
              <a:avLst/>
              <a:gdLst>
                <a:gd name="connsiteX0" fmla="*/ 308526 w 386436"/>
                <a:gd name="connsiteY0" fmla="*/ 9349 h 398901"/>
                <a:gd name="connsiteX1" fmla="*/ 216280 w 386436"/>
                <a:gd name="connsiteY1" fmla="*/ 286087 h 398901"/>
                <a:gd name="connsiteX2" fmla="*/ 77911 w 386436"/>
                <a:gd name="connsiteY2" fmla="*/ 263649 h 398901"/>
                <a:gd name="connsiteX3" fmla="*/ 9349 w 386436"/>
                <a:gd name="connsiteY3" fmla="*/ 301046 h 398901"/>
                <a:gd name="connsiteX4" fmla="*/ 46746 w 386436"/>
                <a:gd name="connsiteY4" fmla="*/ 373347 h 398901"/>
                <a:gd name="connsiteX5" fmla="*/ 306032 w 386436"/>
                <a:gd name="connsiteY5" fmla="*/ 363375 h 398901"/>
                <a:gd name="connsiteX6" fmla="*/ 318498 w 386436"/>
                <a:gd name="connsiteY6" fmla="*/ 15582 h 398901"/>
                <a:gd name="connsiteX7" fmla="*/ 308526 w 386436"/>
                <a:gd name="connsiteY7" fmla="*/ 9349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6436" h="398901">
                  <a:moveTo>
                    <a:pt x="308526" y="9349"/>
                  </a:moveTo>
                  <a:cubicBezTo>
                    <a:pt x="308526" y="9349"/>
                    <a:pt x="334704" y="283594"/>
                    <a:pt x="216280" y="286087"/>
                  </a:cubicBezTo>
                  <a:cubicBezTo>
                    <a:pt x="97856" y="288581"/>
                    <a:pt x="77911" y="263649"/>
                    <a:pt x="77911" y="263649"/>
                  </a:cubicBezTo>
                  <a:lnTo>
                    <a:pt x="9349" y="301046"/>
                  </a:lnTo>
                  <a:lnTo>
                    <a:pt x="46746" y="373347"/>
                  </a:lnTo>
                  <a:cubicBezTo>
                    <a:pt x="46746" y="373347"/>
                    <a:pt x="207554" y="426950"/>
                    <a:pt x="306032" y="363375"/>
                  </a:cubicBezTo>
                  <a:cubicBezTo>
                    <a:pt x="468086" y="258663"/>
                    <a:pt x="318498" y="15582"/>
                    <a:pt x="318498" y="15582"/>
                  </a:cubicBezTo>
                  <a:lnTo>
                    <a:pt x="308526" y="9349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3C8EEB05-8AE7-4695-BAEC-8BAD97E680B7}"/>
                </a:ext>
              </a:extLst>
            </p:cNvPr>
            <p:cNvSpPr/>
            <p:nvPr/>
          </p:nvSpPr>
          <p:spPr>
            <a:xfrm>
              <a:off x="10298258" y="3309644"/>
              <a:ext cx="573421" cy="486162"/>
            </a:xfrm>
            <a:custGeom>
              <a:avLst/>
              <a:gdLst>
                <a:gd name="connsiteX0" fmla="*/ 542881 w 573421"/>
                <a:gd name="connsiteY0" fmla="*/ 9349 h 486161"/>
                <a:gd name="connsiteX1" fmla="*/ 9349 w 573421"/>
                <a:gd name="connsiteY1" fmla="*/ 438169 h 486161"/>
                <a:gd name="connsiteX2" fmla="*/ 52979 w 573421"/>
                <a:gd name="connsiteY2" fmla="*/ 483045 h 486161"/>
                <a:gd name="connsiteX3" fmla="*/ 554100 w 573421"/>
                <a:gd name="connsiteY3" fmla="*/ 156444 h 486161"/>
                <a:gd name="connsiteX4" fmla="*/ 542881 w 573421"/>
                <a:gd name="connsiteY4" fmla="*/ 9349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421" h="486161">
                  <a:moveTo>
                    <a:pt x="542881" y="9349"/>
                  </a:moveTo>
                  <a:cubicBezTo>
                    <a:pt x="531662" y="14335"/>
                    <a:pt x="9349" y="438169"/>
                    <a:pt x="9349" y="438169"/>
                  </a:cubicBezTo>
                  <a:lnTo>
                    <a:pt x="52979" y="483045"/>
                  </a:lnTo>
                  <a:cubicBezTo>
                    <a:pt x="52979" y="483045"/>
                    <a:pt x="519196" y="215033"/>
                    <a:pt x="554100" y="156444"/>
                  </a:cubicBezTo>
                  <a:cubicBezTo>
                    <a:pt x="589004" y="97856"/>
                    <a:pt x="542881" y="9349"/>
                    <a:pt x="542881" y="934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A4D09124-5099-4EEA-8708-47757D4C5227}"/>
                </a:ext>
              </a:extLst>
            </p:cNvPr>
            <p:cNvSpPr/>
            <p:nvPr/>
          </p:nvSpPr>
          <p:spPr>
            <a:xfrm>
              <a:off x="10761981" y="3300838"/>
              <a:ext cx="211917" cy="199451"/>
            </a:xfrm>
            <a:custGeom>
              <a:avLst/>
              <a:gdLst>
                <a:gd name="connsiteX0" fmla="*/ 61705 w 211916"/>
                <a:gd name="connsiteY0" fmla="*/ 190181 h 199450"/>
                <a:gd name="connsiteX1" fmla="*/ 76664 w 211916"/>
                <a:gd name="connsiteY1" fmla="*/ 181455 h 199450"/>
                <a:gd name="connsiteX2" fmla="*/ 117801 w 211916"/>
                <a:gd name="connsiteY2" fmla="*/ 157770 h 199450"/>
                <a:gd name="connsiteX3" fmla="*/ 173896 w 211916"/>
                <a:gd name="connsiteY3" fmla="*/ 116634 h 199450"/>
                <a:gd name="connsiteX4" fmla="*/ 201321 w 211916"/>
                <a:gd name="connsiteY4" fmla="*/ 86716 h 199450"/>
                <a:gd name="connsiteX5" fmla="*/ 203814 w 211916"/>
                <a:gd name="connsiteY5" fmla="*/ 46826 h 199450"/>
                <a:gd name="connsiteX6" fmla="*/ 168910 w 211916"/>
                <a:gd name="connsiteY6" fmla="*/ 23141 h 199450"/>
                <a:gd name="connsiteX7" fmla="*/ 129020 w 211916"/>
                <a:gd name="connsiteY7" fmla="*/ 14415 h 199450"/>
                <a:gd name="connsiteX8" fmla="*/ 64199 w 211916"/>
                <a:gd name="connsiteY8" fmla="*/ 35607 h 199450"/>
                <a:gd name="connsiteX9" fmla="*/ 24308 w 211916"/>
                <a:gd name="connsiteY9" fmla="*/ 60538 h 199450"/>
                <a:gd name="connsiteX10" fmla="*/ 9349 w 211916"/>
                <a:gd name="connsiteY10" fmla="*/ 69264 h 199450"/>
                <a:gd name="connsiteX11" fmla="*/ 23062 w 211916"/>
                <a:gd name="connsiteY11" fmla="*/ 59291 h 199450"/>
                <a:gd name="connsiteX12" fmla="*/ 62952 w 211916"/>
                <a:gd name="connsiteY12" fmla="*/ 31867 h 199450"/>
                <a:gd name="connsiteX13" fmla="*/ 130267 w 211916"/>
                <a:gd name="connsiteY13" fmla="*/ 9429 h 199450"/>
                <a:gd name="connsiteX14" fmla="*/ 171403 w 211916"/>
                <a:gd name="connsiteY14" fmla="*/ 18155 h 199450"/>
                <a:gd name="connsiteX15" fmla="*/ 208800 w 211916"/>
                <a:gd name="connsiteY15" fmla="*/ 44333 h 199450"/>
                <a:gd name="connsiteX16" fmla="*/ 206307 w 211916"/>
                <a:gd name="connsiteY16" fmla="*/ 89209 h 199450"/>
                <a:gd name="connsiteX17" fmla="*/ 177636 w 211916"/>
                <a:gd name="connsiteY17" fmla="*/ 119127 h 199450"/>
                <a:gd name="connsiteX18" fmla="*/ 120294 w 211916"/>
                <a:gd name="connsiteY18" fmla="*/ 160263 h 199450"/>
                <a:gd name="connsiteX19" fmla="*/ 77911 w 211916"/>
                <a:gd name="connsiteY19" fmla="*/ 182702 h 199450"/>
                <a:gd name="connsiteX20" fmla="*/ 65445 w 211916"/>
                <a:gd name="connsiteY20" fmla="*/ 187688 h 199450"/>
                <a:gd name="connsiteX21" fmla="*/ 61705 w 211916"/>
                <a:gd name="connsiteY21" fmla="*/ 190181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1916" h="199450">
                  <a:moveTo>
                    <a:pt x="61705" y="190181"/>
                  </a:moveTo>
                  <a:cubicBezTo>
                    <a:pt x="61705" y="190181"/>
                    <a:pt x="66692" y="187688"/>
                    <a:pt x="76664" y="181455"/>
                  </a:cubicBezTo>
                  <a:cubicBezTo>
                    <a:pt x="86637" y="176469"/>
                    <a:pt x="100349" y="168990"/>
                    <a:pt x="117801" y="157770"/>
                  </a:cubicBezTo>
                  <a:cubicBezTo>
                    <a:pt x="135253" y="146551"/>
                    <a:pt x="153952" y="132839"/>
                    <a:pt x="173896" y="116634"/>
                  </a:cubicBezTo>
                  <a:cubicBezTo>
                    <a:pt x="183869" y="107907"/>
                    <a:pt x="195088" y="99182"/>
                    <a:pt x="201321" y="86716"/>
                  </a:cubicBezTo>
                  <a:cubicBezTo>
                    <a:pt x="208800" y="75497"/>
                    <a:pt x="211293" y="59291"/>
                    <a:pt x="203814" y="46826"/>
                  </a:cubicBezTo>
                  <a:cubicBezTo>
                    <a:pt x="196335" y="34360"/>
                    <a:pt x="182623" y="28127"/>
                    <a:pt x="168910" y="23141"/>
                  </a:cubicBezTo>
                  <a:cubicBezTo>
                    <a:pt x="155198" y="18155"/>
                    <a:pt x="142732" y="14415"/>
                    <a:pt x="129020" y="14415"/>
                  </a:cubicBezTo>
                  <a:cubicBezTo>
                    <a:pt x="102842" y="13169"/>
                    <a:pt x="81650" y="25634"/>
                    <a:pt x="64199" y="35607"/>
                  </a:cubicBezTo>
                  <a:cubicBezTo>
                    <a:pt x="49240" y="44333"/>
                    <a:pt x="36774" y="53058"/>
                    <a:pt x="24308" y="60538"/>
                  </a:cubicBezTo>
                  <a:cubicBezTo>
                    <a:pt x="14336" y="66771"/>
                    <a:pt x="9349" y="69264"/>
                    <a:pt x="9349" y="69264"/>
                  </a:cubicBezTo>
                  <a:cubicBezTo>
                    <a:pt x="9349" y="69264"/>
                    <a:pt x="14336" y="65524"/>
                    <a:pt x="23062" y="59291"/>
                  </a:cubicBezTo>
                  <a:cubicBezTo>
                    <a:pt x="34281" y="51812"/>
                    <a:pt x="47993" y="41839"/>
                    <a:pt x="62952" y="31867"/>
                  </a:cubicBezTo>
                  <a:cubicBezTo>
                    <a:pt x="79158" y="21894"/>
                    <a:pt x="101596" y="8182"/>
                    <a:pt x="130267" y="9429"/>
                  </a:cubicBezTo>
                  <a:cubicBezTo>
                    <a:pt x="143978" y="9429"/>
                    <a:pt x="157691" y="13169"/>
                    <a:pt x="171403" y="18155"/>
                  </a:cubicBezTo>
                  <a:cubicBezTo>
                    <a:pt x="185116" y="23141"/>
                    <a:pt x="200074" y="30620"/>
                    <a:pt x="208800" y="44333"/>
                  </a:cubicBezTo>
                  <a:cubicBezTo>
                    <a:pt x="217526" y="59291"/>
                    <a:pt x="213787" y="76743"/>
                    <a:pt x="206307" y="89209"/>
                  </a:cubicBezTo>
                  <a:cubicBezTo>
                    <a:pt x="198828" y="101675"/>
                    <a:pt x="187608" y="111647"/>
                    <a:pt x="177636" y="119127"/>
                  </a:cubicBezTo>
                  <a:cubicBezTo>
                    <a:pt x="157691" y="136579"/>
                    <a:pt x="137746" y="150291"/>
                    <a:pt x="120294" y="160263"/>
                  </a:cubicBezTo>
                  <a:cubicBezTo>
                    <a:pt x="102842" y="170236"/>
                    <a:pt x="87883" y="177715"/>
                    <a:pt x="77911" y="182702"/>
                  </a:cubicBezTo>
                  <a:cubicBezTo>
                    <a:pt x="72925" y="185195"/>
                    <a:pt x="69184" y="186441"/>
                    <a:pt x="65445" y="187688"/>
                  </a:cubicBezTo>
                  <a:cubicBezTo>
                    <a:pt x="62952" y="190181"/>
                    <a:pt x="61705" y="190181"/>
                    <a:pt x="61705" y="19018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D17B761B-99F7-408F-9317-D8DDCB10F1EE}"/>
                </a:ext>
              </a:extLst>
            </p:cNvPr>
            <p:cNvSpPr/>
            <p:nvPr/>
          </p:nvSpPr>
          <p:spPr>
            <a:xfrm>
              <a:off x="10576267" y="3529143"/>
              <a:ext cx="124657" cy="99725"/>
            </a:xfrm>
            <a:custGeom>
              <a:avLst/>
              <a:gdLst>
                <a:gd name="connsiteX0" fmla="*/ 119023 w 124656"/>
                <a:gd name="connsiteY0" fmla="*/ 17972 h 99725"/>
                <a:gd name="connsiteX1" fmla="*/ 82872 w 124656"/>
                <a:gd name="connsiteY1" fmla="*/ 80300 h 99725"/>
                <a:gd name="connsiteX2" fmla="*/ 11818 w 124656"/>
                <a:gd name="connsiteY2" fmla="*/ 91519 h 99725"/>
                <a:gd name="connsiteX3" fmla="*/ 47968 w 124656"/>
                <a:gd name="connsiteY3" fmla="*/ 29191 h 99725"/>
                <a:gd name="connsiteX4" fmla="*/ 119023 w 124656"/>
                <a:gd name="connsiteY4" fmla="*/ 17972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99725">
                  <a:moveTo>
                    <a:pt x="119023" y="17972"/>
                  </a:moveTo>
                  <a:cubicBezTo>
                    <a:pt x="128995" y="31684"/>
                    <a:pt x="112790" y="60355"/>
                    <a:pt x="82872" y="80300"/>
                  </a:cubicBezTo>
                  <a:cubicBezTo>
                    <a:pt x="52955" y="100245"/>
                    <a:pt x="20544" y="105232"/>
                    <a:pt x="11818" y="91519"/>
                  </a:cubicBezTo>
                  <a:cubicBezTo>
                    <a:pt x="3092" y="77807"/>
                    <a:pt x="18051" y="49136"/>
                    <a:pt x="47968" y="29191"/>
                  </a:cubicBezTo>
                  <a:cubicBezTo>
                    <a:pt x="77886" y="7999"/>
                    <a:pt x="109051" y="3013"/>
                    <a:pt x="119023" y="1797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029AB42D-FD1F-47CD-BF47-9E4C22A0A92F}"/>
                </a:ext>
              </a:extLst>
            </p:cNvPr>
            <p:cNvSpPr/>
            <p:nvPr/>
          </p:nvSpPr>
          <p:spPr>
            <a:xfrm>
              <a:off x="10754502" y="3378205"/>
              <a:ext cx="211917" cy="236848"/>
            </a:xfrm>
            <a:custGeom>
              <a:avLst/>
              <a:gdLst>
                <a:gd name="connsiteX0" fmla="*/ 9349 w 211916"/>
                <a:gd name="connsiteY0" fmla="*/ 238718 h 236847"/>
                <a:gd name="connsiteX1" fmla="*/ 213786 w 211916"/>
                <a:gd name="connsiteY1" fmla="*/ 9349 h 236847"/>
                <a:gd name="connsiteX2" fmla="*/ 13089 w 211916"/>
                <a:gd name="connsiteY2" fmla="*/ 156444 h 236847"/>
                <a:gd name="connsiteX3" fmla="*/ 9349 w 211916"/>
                <a:gd name="connsiteY3" fmla="*/ 238718 h 23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916" h="236847">
                  <a:moveTo>
                    <a:pt x="9349" y="238718"/>
                  </a:moveTo>
                  <a:cubicBezTo>
                    <a:pt x="9349" y="238718"/>
                    <a:pt x="227499" y="107828"/>
                    <a:pt x="213786" y="9349"/>
                  </a:cubicBezTo>
                  <a:lnTo>
                    <a:pt x="13089" y="156444"/>
                  </a:lnTo>
                  <a:cubicBezTo>
                    <a:pt x="13089" y="156444"/>
                    <a:pt x="24308" y="182622"/>
                    <a:pt x="9349" y="238718"/>
                  </a:cubicBez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7F63C110-1812-43E1-9D9E-629DE884D2DC}"/>
                </a:ext>
              </a:extLst>
            </p:cNvPr>
            <p:cNvSpPr/>
            <p:nvPr/>
          </p:nvSpPr>
          <p:spPr>
            <a:xfrm>
              <a:off x="6010918" y="5230213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1"/>
                    <a:pt x="775134" y="106973"/>
                    <a:pt x="503382" y="106973"/>
                  </a:cubicBezTo>
                  <a:cubicBezTo>
                    <a:pt x="232877" y="106973"/>
                    <a:pt x="12234" y="85781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F48A3872-734E-4BCC-ADA8-FA01521E99E1}"/>
                </a:ext>
              </a:extLst>
            </p:cNvPr>
            <p:cNvSpPr/>
            <p:nvPr/>
          </p:nvSpPr>
          <p:spPr>
            <a:xfrm>
              <a:off x="7984236" y="5172871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2"/>
                    <a:pt x="775134" y="106973"/>
                    <a:pt x="503382" y="106973"/>
                  </a:cubicBezTo>
                  <a:cubicBezTo>
                    <a:pt x="232876" y="106973"/>
                    <a:pt x="12234" y="85782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A0936A0F-D998-478A-97B1-FD4B72779C17}"/>
                </a:ext>
              </a:extLst>
            </p:cNvPr>
            <p:cNvSpPr/>
            <p:nvPr/>
          </p:nvSpPr>
          <p:spPr>
            <a:xfrm>
              <a:off x="8393501" y="3045371"/>
              <a:ext cx="211917" cy="336573"/>
            </a:xfrm>
            <a:custGeom>
              <a:avLst/>
              <a:gdLst>
                <a:gd name="connsiteX0" fmla="*/ 160184 w 211916"/>
                <a:gd name="connsiteY0" fmla="*/ 9349 h 336573"/>
                <a:gd name="connsiteX1" fmla="*/ 210047 w 211916"/>
                <a:gd name="connsiteY1" fmla="*/ 143979 h 336573"/>
                <a:gd name="connsiteX2" fmla="*/ 176390 w 211916"/>
                <a:gd name="connsiteY2" fmla="*/ 217526 h 336573"/>
                <a:gd name="connsiteX3" fmla="*/ 158937 w 211916"/>
                <a:gd name="connsiteY3" fmla="*/ 223759 h 336573"/>
                <a:gd name="connsiteX4" fmla="*/ 166417 w 211916"/>
                <a:gd name="connsiteY4" fmla="*/ 322238 h 336573"/>
                <a:gd name="connsiteX5" fmla="*/ 29294 w 211916"/>
                <a:gd name="connsiteY5" fmla="*/ 332210 h 336573"/>
                <a:gd name="connsiteX6" fmla="*/ 9349 w 211916"/>
                <a:gd name="connsiteY6" fmla="*/ 55472 h 336573"/>
                <a:gd name="connsiteX7" fmla="*/ 160184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60184" y="9349"/>
                  </a:moveTo>
                  <a:lnTo>
                    <a:pt x="210047" y="143979"/>
                  </a:lnTo>
                  <a:cubicBezTo>
                    <a:pt x="221266" y="173896"/>
                    <a:pt x="206307" y="207554"/>
                    <a:pt x="176390" y="217526"/>
                  </a:cubicBezTo>
                  <a:lnTo>
                    <a:pt x="158937" y="223759"/>
                  </a:lnTo>
                  <a:lnTo>
                    <a:pt x="166417" y="322238"/>
                  </a:lnTo>
                  <a:lnTo>
                    <a:pt x="29294" y="332210"/>
                  </a:lnTo>
                  <a:lnTo>
                    <a:pt x="9349" y="55472"/>
                  </a:lnTo>
                  <a:lnTo>
                    <a:pt x="160184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DBCB3B60-9A05-45BB-B1D8-B200CC6A0F0D}"/>
                </a:ext>
              </a:extLst>
            </p:cNvPr>
            <p:cNvSpPr/>
            <p:nvPr/>
          </p:nvSpPr>
          <p:spPr>
            <a:xfrm>
              <a:off x="8327916" y="2963497"/>
              <a:ext cx="249314" cy="324108"/>
            </a:xfrm>
            <a:custGeom>
              <a:avLst/>
              <a:gdLst>
                <a:gd name="connsiteX0" fmla="*/ 220784 w 249313"/>
                <a:gd name="connsiteY0" fmla="*/ 12690 h 324107"/>
                <a:gd name="connsiteX1" fmla="*/ 159702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4441 h 324107"/>
                <a:gd name="connsiteX4" fmla="*/ 74935 w 249313"/>
                <a:gd name="connsiteY4" fmla="*/ 324332 h 324107"/>
                <a:gd name="connsiteX5" fmla="*/ 144743 w 249313"/>
                <a:gd name="connsiteY5" fmla="*/ 319345 h 324107"/>
                <a:gd name="connsiteX6" fmla="*/ 162195 w 249313"/>
                <a:gd name="connsiteY6" fmla="*/ 232086 h 324107"/>
                <a:gd name="connsiteX7" fmla="*/ 108593 w 249313"/>
                <a:gd name="connsiteY7" fmla="*/ 179730 h 324107"/>
                <a:gd name="connsiteX8" fmla="*/ 169674 w 249313"/>
                <a:gd name="connsiteY8" fmla="*/ 197182 h 324107"/>
                <a:gd name="connsiteX9" fmla="*/ 189620 w 249313"/>
                <a:gd name="connsiteY9" fmla="*/ 194689 h 324107"/>
                <a:gd name="connsiteX10" fmla="*/ 165935 w 249313"/>
                <a:gd name="connsiteY10" fmla="*/ 117401 h 324107"/>
                <a:gd name="connsiteX11" fmla="*/ 243222 w 249313"/>
                <a:gd name="connsiteY11" fmla="*/ 60059 h 324107"/>
                <a:gd name="connsiteX12" fmla="*/ 220784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20784" y="12690"/>
                  </a:moveTo>
                  <a:cubicBezTo>
                    <a:pt x="220784" y="12690"/>
                    <a:pt x="193359" y="-4762"/>
                    <a:pt x="159702" y="40114"/>
                  </a:cubicBezTo>
                  <a:cubicBezTo>
                    <a:pt x="126044" y="84991"/>
                    <a:pt x="47511" y="55073"/>
                    <a:pt x="21333" y="111169"/>
                  </a:cubicBezTo>
                  <a:cubicBezTo>
                    <a:pt x="-4845" y="167264"/>
                    <a:pt x="15100" y="233332"/>
                    <a:pt x="50004" y="284441"/>
                  </a:cubicBezTo>
                  <a:lnTo>
                    <a:pt x="74935" y="324332"/>
                  </a:lnTo>
                  <a:lnTo>
                    <a:pt x="144743" y="319345"/>
                  </a:lnTo>
                  <a:cubicBezTo>
                    <a:pt x="144743" y="319345"/>
                    <a:pt x="174661" y="250784"/>
                    <a:pt x="162195" y="232086"/>
                  </a:cubicBezTo>
                  <a:cubicBezTo>
                    <a:pt x="162195" y="232086"/>
                    <a:pt x="84908" y="220867"/>
                    <a:pt x="108593" y="179730"/>
                  </a:cubicBezTo>
                  <a:cubicBezTo>
                    <a:pt x="132277" y="138593"/>
                    <a:pt x="169674" y="197182"/>
                    <a:pt x="169674" y="197182"/>
                  </a:cubicBezTo>
                  <a:lnTo>
                    <a:pt x="189620" y="194689"/>
                  </a:lnTo>
                  <a:lnTo>
                    <a:pt x="165935" y="117401"/>
                  </a:lnTo>
                  <a:cubicBezTo>
                    <a:pt x="165935" y="117401"/>
                    <a:pt x="234496" y="103689"/>
                    <a:pt x="243222" y="60059"/>
                  </a:cubicBezTo>
                  <a:cubicBezTo>
                    <a:pt x="250701" y="15183"/>
                    <a:pt x="220784" y="12690"/>
                    <a:pt x="220784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26356DA2-45EF-4AF7-83E8-D56D2A7948FE}"/>
                </a:ext>
              </a:extLst>
            </p:cNvPr>
            <p:cNvSpPr/>
            <p:nvPr/>
          </p:nvSpPr>
          <p:spPr>
            <a:xfrm>
              <a:off x="8235188" y="4326843"/>
              <a:ext cx="261779" cy="885063"/>
            </a:xfrm>
            <a:custGeom>
              <a:avLst/>
              <a:gdLst>
                <a:gd name="connsiteX0" fmla="*/ 75417 w 261779"/>
                <a:gd name="connsiteY0" fmla="*/ 9349 h 885063"/>
                <a:gd name="connsiteX1" fmla="*/ 92869 w 261779"/>
                <a:gd name="connsiteY1" fmla="*/ 208800 h 885063"/>
                <a:gd name="connsiteX2" fmla="*/ 86636 w 261779"/>
                <a:gd name="connsiteY2" fmla="*/ 380826 h 885063"/>
                <a:gd name="connsiteX3" fmla="*/ 9349 w 261779"/>
                <a:gd name="connsiteY3" fmla="*/ 875714 h 885063"/>
                <a:gd name="connsiteX4" fmla="*/ 52979 w 261779"/>
                <a:gd name="connsiteY4" fmla="*/ 875714 h 885063"/>
                <a:gd name="connsiteX5" fmla="*/ 196335 w 261779"/>
                <a:gd name="connsiteY5" fmla="*/ 494264 h 885063"/>
                <a:gd name="connsiteX6" fmla="*/ 242457 w 261779"/>
                <a:gd name="connsiteY6" fmla="*/ 273622 h 885063"/>
                <a:gd name="connsiteX7" fmla="*/ 257416 w 261779"/>
                <a:gd name="connsiteY7" fmla="*/ 10596 h 885063"/>
                <a:gd name="connsiteX8" fmla="*/ 75417 w 261779"/>
                <a:gd name="connsiteY8" fmla="*/ 10596 h 88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779" h="885063">
                  <a:moveTo>
                    <a:pt x="75417" y="9349"/>
                  </a:moveTo>
                  <a:lnTo>
                    <a:pt x="92869" y="208800"/>
                  </a:lnTo>
                  <a:cubicBezTo>
                    <a:pt x="97856" y="266142"/>
                    <a:pt x="95362" y="323484"/>
                    <a:pt x="86636" y="380826"/>
                  </a:cubicBezTo>
                  <a:lnTo>
                    <a:pt x="9349" y="875714"/>
                  </a:lnTo>
                  <a:lnTo>
                    <a:pt x="52979" y="875714"/>
                  </a:lnTo>
                  <a:lnTo>
                    <a:pt x="196335" y="494264"/>
                  </a:lnTo>
                  <a:cubicBezTo>
                    <a:pt x="222513" y="423210"/>
                    <a:pt x="238718" y="349662"/>
                    <a:pt x="242457" y="273622"/>
                  </a:cubicBezTo>
                  <a:lnTo>
                    <a:pt x="257416" y="10596"/>
                  </a:lnTo>
                  <a:lnTo>
                    <a:pt x="75417" y="10596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B53A8FFC-F856-49DE-AEB7-DB6D804C4886}"/>
                </a:ext>
              </a:extLst>
            </p:cNvPr>
            <p:cNvSpPr/>
            <p:nvPr/>
          </p:nvSpPr>
          <p:spPr>
            <a:xfrm>
              <a:off x="8463309" y="4255789"/>
              <a:ext cx="199451" cy="959858"/>
            </a:xfrm>
            <a:custGeom>
              <a:avLst/>
              <a:gdLst>
                <a:gd name="connsiteX0" fmla="*/ 9349 w 199450"/>
                <a:gd name="connsiteY0" fmla="*/ 9349 h 959857"/>
                <a:gd name="connsiteX1" fmla="*/ 44253 w 199450"/>
                <a:gd name="connsiteY1" fmla="*/ 262402 h 959857"/>
                <a:gd name="connsiteX2" fmla="*/ 60459 w 199450"/>
                <a:gd name="connsiteY2" fmla="*/ 480552 h 959857"/>
                <a:gd name="connsiteX3" fmla="*/ 49240 w 199450"/>
                <a:gd name="connsiteY3" fmla="*/ 960481 h 959857"/>
                <a:gd name="connsiteX4" fmla="*/ 86637 w 199450"/>
                <a:gd name="connsiteY4" fmla="*/ 945522 h 959857"/>
                <a:gd name="connsiteX5" fmla="*/ 163924 w 199450"/>
                <a:gd name="connsiteY5" fmla="*/ 632633 h 959857"/>
                <a:gd name="connsiteX6" fmla="*/ 190102 w 199450"/>
                <a:gd name="connsiteY6" fmla="*/ 242458 h 959857"/>
                <a:gd name="connsiteX7" fmla="*/ 173896 w 199450"/>
                <a:gd name="connsiteY7" fmla="*/ 9349 h 959857"/>
                <a:gd name="connsiteX8" fmla="*/ 9349 w 199450"/>
                <a:gd name="connsiteY8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450" h="959857">
                  <a:moveTo>
                    <a:pt x="9349" y="9349"/>
                  </a:moveTo>
                  <a:lnTo>
                    <a:pt x="44253" y="262402"/>
                  </a:lnTo>
                  <a:cubicBezTo>
                    <a:pt x="56719" y="334704"/>
                    <a:pt x="61705" y="407004"/>
                    <a:pt x="60459" y="480552"/>
                  </a:cubicBezTo>
                  <a:lnTo>
                    <a:pt x="49240" y="960481"/>
                  </a:lnTo>
                  <a:lnTo>
                    <a:pt x="86637" y="945522"/>
                  </a:lnTo>
                  <a:lnTo>
                    <a:pt x="163924" y="632633"/>
                  </a:lnTo>
                  <a:cubicBezTo>
                    <a:pt x="195088" y="505483"/>
                    <a:pt x="203814" y="373347"/>
                    <a:pt x="190102" y="242458"/>
                  </a:cubicBezTo>
                  <a:lnTo>
                    <a:pt x="173896" y="9349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46D3F397-C4F5-4847-96CA-9EEF7AF86FDA}"/>
                </a:ext>
              </a:extLst>
            </p:cNvPr>
            <p:cNvSpPr/>
            <p:nvPr/>
          </p:nvSpPr>
          <p:spPr>
            <a:xfrm>
              <a:off x="8235579" y="3162548"/>
              <a:ext cx="959858" cy="1383691"/>
            </a:xfrm>
            <a:custGeom>
              <a:avLst/>
              <a:gdLst>
                <a:gd name="connsiteX0" fmla="*/ 198436 w 959857"/>
                <a:gd name="connsiteY0" fmla="*/ 212540 h 1383690"/>
                <a:gd name="connsiteX1" fmla="*/ 107437 w 959857"/>
                <a:gd name="connsiteY1" fmla="*/ 362128 h 1383690"/>
                <a:gd name="connsiteX2" fmla="*/ 166026 w 959857"/>
                <a:gd name="connsiteY2" fmla="*/ 633880 h 1383690"/>
                <a:gd name="connsiteX3" fmla="*/ 21424 w 959857"/>
                <a:gd name="connsiteY3" fmla="*/ 1196082 h 1383690"/>
                <a:gd name="connsiteX4" fmla="*/ 37629 w 959857"/>
                <a:gd name="connsiteY4" fmla="*/ 1375588 h 1383690"/>
                <a:gd name="connsiteX5" fmla="*/ 470189 w 959857"/>
                <a:gd name="connsiteY5" fmla="*/ 1375588 h 1383690"/>
                <a:gd name="connsiteX6" fmla="*/ 415340 w 959857"/>
                <a:gd name="connsiteY6" fmla="*/ 525429 h 1383690"/>
                <a:gd name="connsiteX7" fmla="*/ 429052 w 959857"/>
                <a:gd name="connsiteY7" fmla="*/ 509223 h 1383690"/>
                <a:gd name="connsiteX8" fmla="*/ 453983 w 959857"/>
                <a:gd name="connsiteY8" fmla="*/ 411991 h 1383690"/>
                <a:gd name="connsiteX9" fmla="*/ 432791 w 959857"/>
                <a:gd name="connsiteY9" fmla="*/ 303539 h 1383690"/>
                <a:gd name="connsiteX10" fmla="*/ 723242 w 959857"/>
                <a:gd name="connsiteY10" fmla="*/ 258663 h 1383690"/>
                <a:gd name="connsiteX11" fmla="*/ 958843 w 959857"/>
                <a:gd name="connsiteY11" fmla="*/ 54226 h 1383690"/>
                <a:gd name="connsiteX12" fmla="*/ 903994 w 959857"/>
                <a:gd name="connsiteY12" fmla="*/ 9349 h 1383690"/>
                <a:gd name="connsiteX13" fmla="*/ 710776 w 959857"/>
                <a:gd name="connsiteY13" fmla="*/ 152704 h 1383690"/>
                <a:gd name="connsiteX14" fmla="*/ 198436 w 959857"/>
                <a:gd name="connsiteY14" fmla="*/ 212540 h 138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59857" h="1383690">
                  <a:moveTo>
                    <a:pt x="198436" y="212540"/>
                  </a:moveTo>
                  <a:cubicBezTo>
                    <a:pt x="198436" y="212540"/>
                    <a:pt x="80012" y="185115"/>
                    <a:pt x="107437" y="362128"/>
                  </a:cubicBezTo>
                  <a:cubicBezTo>
                    <a:pt x="134862" y="539141"/>
                    <a:pt x="166026" y="633880"/>
                    <a:pt x="166026" y="633880"/>
                  </a:cubicBezTo>
                  <a:cubicBezTo>
                    <a:pt x="166026" y="633880"/>
                    <a:pt x="-42151" y="874468"/>
                    <a:pt x="21424" y="1196082"/>
                  </a:cubicBezTo>
                  <a:lnTo>
                    <a:pt x="37629" y="1375588"/>
                  </a:lnTo>
                  <a:lnTo>
                    <a:pt x="470189" y="1375588"/>
                  </a:lnTo>
                  <a:lnTo>
                    <a:pt x="415340" y="525429"/>
                  </a:lnTo>
                  <a:lnTo>
                    <a:pt x="429052" y="509223"/>
                  </a:lnTo>
                  <a:cubicBezTo>
                    <a:pt x="451490" y="481799"/>
                    <a:pt x="461462" y="446895"/>
                    <a:pt x="453983" y="411991"/>
                  </a:cubicBezTo>
                  <a:lnTo>
                    <a:pt x="432791" y="303539"/>
                  </a:lnTo>
                  <a:lnTo>
                    <a:pt x="723242" y="258663"/>
                  </a:lnTo>
                  <a:lnTo>
                    <a:pt x="958843" y="54226"/>
                  </a:lnTo>
                  <a:lnTo>
                    <a:pt x="903994" y="9349"/>
                  </a:lnTo>
                  <a:lnTo>
                    <a:pt x="710776" y="152704"/>
                  </a:lnTo>
                  <a:lnTo>
                    <a:pt x="198436" y="212540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2FF826DA-3671-4D33-9A31-C2E1C93E136C}"/>
                </a:ext>
              </a:extLst>
            </p:cNvPr>
            <p:cNvSpPr/>
            <p:nvPr/>
          </p:nvSpPr>
          <p:spPr>
            <a:xfrm>
              <a:off x="7816084" y="3011825"/>
              <a:ext cx="673147" cy="723010"/>
            </a:xfrm>
            <a:custGeom>
              <a:avLst/>
              <a:gdLst>
                <a:gd name="connsiteX0" fmla="*/ 637877 w 673146"/>
                <a:gd name="connsiteY0" fmla="*/ 42895 h 723009"/>
                <a:gd name="connsiteX1" fmla="*/ 621671 w 673146"/>
                <a:gd name="connsiteY1" fmla="*/ 186250 h 723009"/>
                <a:gd name="connsiteX2" fmla="*/ 640370 w 673146"/>
                <a:gd name="connsiteY2" fmla="*/ 207442 h 723009"/>
                <a:gd name="connsiteX3" fmla="*/ 671534 w 673146"/>
                <a:gd name="connsiteY3" fmla="*/ 223647 h 723009"/>
                <a:gd name="connsiteX4" fmla="*/ 630397 w 673146"/>
                <a:gd name="connsiteY4" fmla="*/ 411879 h 723009"/>
                <a:gd name="connsiteX5" fmla="*/ 614192 w 673146"/>
                <a:gd name="connsiteY5" fmla="*/ 482934 h 723009"/>
                <a:gd name="connsiteX6" fmla="*/ 531918 w 673146"/>
                <a:gd name="connsiteY6" fmla="*/ 549002 h 723009"/>
                <a:gd name="connsiteX7" fmla="*/ 462110 w 673146"/>
                <a:gd name="connsiteY7" fmla="*/ 640001 h 723009"/>
                <a:gd name="connsiteX8" fmla="*/ 308783 w 673146"/>
                <a:gd name="connsiteY8" fmla="*/ 716042 h 723009"/>
                <a:gd name="connsiteX9" fmla="*/ 101852 w 673146"/>
                <a:gd name="connsiteY9" fmla="*/ 664933 h 723009"/>
                <a:gd name="connsiteX10" fmla="*/ 9606 w 673146"/>
                <a:gd name="connsiteY10" fmla="*/ 475454 h 723009"/>
                <a:gd name="connsiteX11" fmla="*/ 211550 w 673146"/>
                <a:gd name="connsiteY11" fmla="*/ 258551 h 723009"/>
                <a:gd name="connsiteX12" fmla="*/ 343686 w 673146"/>
                <a:gd name="connsiteY12" fmla="*/ 238606 h 723009"/>
                <a:gd name="connsiteX13" fmla="*/ 443412 w 673146"/>
                <a:gd name="connsiteY13" fmla="*/ 157580 h 723009"/>
                <a:gd name="connsiteX14" fmla="*/ 457124 w 673146"/>
                <a:gd name="connsiteY14" fmla="*/ 84032 h 723009"/>
                <a:gd name="connsiteX15" fmla="*/ 641616 w 673146"/>
                <a:gd name="connsiteY15" fmla="*/ 14224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46" h="723009">
                  <a:moveTo>
                    <a:pt x="637877" y="42895"/>
                  </a:moveTo>
                  <a:cubicBezTo>
                    <a:pt x="596740" y="90265"/>
                    <a:pt x="573055" y="147607"/>
                    <a:pt x="621671" y="186250"/>
                  </a:cubicBezTo>
                  <a:cubicBezTo>
                    <a:pt x="629151" y="192483"/>
                    <a:pt x="637877" y="198716"/>
                    <a:pt x="640370" y="207442"/>
                  </a:cubicBezTo>
                  <a:cubicBezTo>
                    <a:pt x="642863" y="212428"/>
                    <a:pt x="671534" y="218661"/>
                    <a:pt x="671534" y="223647"/>
                  </a:cubicBezTo>
                  <a:cubicBezTo>
                    <a:pt x="667794" y="285976"/>
                    <a:pt x="634137" y="349551"/>
                    <a:pt x="630397" y="411879"/>
                  </a:cubicBezTo>
                  <a:cubicBezTo>
                    <a:pt x="629151" y="436811"/>
                    <a:pt x="626657" y="461742"/>
                    <a:pt x="614192" y="482934"/>
                  </a:cubicBezTo>
                  <a:cubicBezTo>
                    <a:pt x="595493" y="512851"/>
                    <a:pt x="558096" y="525317"/>
                    <a:pt x="531918" y="549002"/>
                  </a:cubicBezTo>
                  <a:cubicBezTo>
                    <a:pt x="503247" y="573933"/>
                    <a:pt x="487042" y="610084"/>
                    <a:pt x="462110" y="640001"/>
                  </a:cubicBezTo>
                  <a:cubicBezTo>
                    <a:pt x="423467" y="683631"/>
                    <a:pt x="367371" y="708562"/>
                    <a:pt x="308783" y="716042"/>
                  </a:cubicBezTo>
                  <a:cubicBezTo>
                    <a:pt x="236482" y="724768"/>
                    <a:pt x="160441" y="708562"/>
                    <a:pt x="101852" y="664933"/>
                  </a:cubicBezTo>
                  <a:cubicBezTo>
                    <a:pt x="43264" y="621303"/>
                    <a:pt x="5867" y="549002"/>
                    <a:pt x="9606" y="475454"/>
                  </a:cubicBezTo>
                  <a:cubicBezTo>
                    <a:pt x="14592" y="369496"/>
                    <a:pt x="108085" y="280990"/>
                    <a:pt x="211550" y="258551"/>
                  </a:cubicBezTo>
                  <a:cubicBezTo>
                    <a:pt x="255180" y="249825"/>
                    <a:pt x="301303" y="249825"/>
                    <a:pt x="343686" y="238606"/>
                  </a:cubicBezTo>
                  <a:cubicBezTo>
                    <a:pt x="387316" y="227387"/>
                    <a:pt x="430946" y="199963"/>
                    <a:pt x="443412" y="157580"/>
                  </a:cubicBezTo>
                  <a:cubicBezTo>
                    <a:pt x="450891" y="133895"/>
                    <a:pt x="447152" y="107717"/>
                    <a:pt x="457124" y="84032"/>
                  </a:cubicBezTo>
                  <a:cubicBezTo>
                    <a:pt x="457124" y="84032"/>
                    <a:pt x="482055" y="-13200"/>
                    <a:pt x="641616" y="14224"/>
                  </a:cubicBez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F486F936-FDC8-498B-A402-4379FE00A512}"/>
                </a:ext>
              </a:extLst>
            </p:cNvPr>
            <p:cNvSpPr/>
            <p:nvPr/>
          </p:nvSpPr>
          <p:spPr>
            <a:xfrm>
              <a:off x="8227708" y="5190715"/>
              <a:ext cx="162054" cy="49863"/>
            </a:xfrm>
            <a:custGeom>
              <a:avLst/>
              <a:gdLst>
                <a:gd name="connsiteX0" fmla="*/ 71678 w 162053"/>
                <a:gd name="connsiteY0" fmla="*/ 9349 h 49862"/>
                <a:gd name="connsiteX1" fmla="*/ 155198 w 162053"/>
                <a:gd name="connsiteY1" fmla="*/ 39267 h 49862"/>
                <a:gd name="connsiteX2" fmla="*/ 9349 w 162053"/>
                <a:gd name="connsiteY2" fmla="*/ 30541 h 49862"/>
                <a:gd name="connsiteX3" fmla="*/ 11843 w 162053"/>
                <a:gd name="connsiteY3" fmla="*/ 1184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71678" y="9349"/>
                  </a:moveTo>
                  <a:cubicBezTo>
                    <a:pt x="71678" y="9349"/>
                    <a:pt x="151458" y="21815"/>
                    <a:pt x="155198" y="39267"/>
                  </a:cubicBezTo>
                  <a:cubicBezTo>
                    <a:pt x="158937" y="55472"/>
                    <a:pt x="9349" y="30541"/>
                    <a:pt x="9349" y="30541"/>
                  </a:cubicBezTo>
                  <a:lnTo>
                    <a:pt x="11843" y="11843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6264BF4D-05F0-4933-A744-5CF3DC06D56F}"/>
                </a:ext>
              </a:extLst>
            </p:cNvPr>
            <p:cNvSpPr/>
            <p:nvPr/>
          </p:nvSpPr>
          <p:spPr>
            <a:xfrm>
              <a:off x="8499460" y="5188222"/>
              <a:ext cx="162054" cy="49863"/>
            </a:xfrm>
            <a:custGeom>
              <a:avLst/>
              <a:gdLst>
                <a:gd name="connsiteX0" fmla="*/ 51733 w 162053"/>
                <a:gd name="connsiteY0" fmla="*/ 9349 h 49862"/>
                <a:gd name="connsiteX1" fmla="*/ 153951 w 162053"/>
                <a:gd name="connsiteY1" fmla="*/ 30541 h 49862"/>
                <a:gd name="connsiteX2" fmla="*/ 9349 w 162053"/>
                <a:gd name="connsiteY2" fmla="*/ 43007 h 49862"/>
                <a:gd name="connsiteX3" fmla="*/ 9349 w 162053"/>
                <a:gd name="connsiteY3" fmla="*/ 2430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51733" y="9349"/>
                  </a:moveTo>
                  <a:cubicBezTo>
                    <a:pt x="51733" y="9349"/>
                    <a:pt x="148965" y="14336"/>
                    <a:pt x="153951" y="30541"/>
                  </a:cubicBezTo>
                  <a:cubicBezTo>
                    <a:pt x="160184" y="46746"/>
                    <a:pt x="9349" y="43007"/>
                    <a:pt x="9349" y="43007"/>
                  </a:cubicBezTo>
                  <a:lnTo>
                    <a:pt x="9349" y="24308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13FE27D5-02CE-4691-83DD-6961F0E0FF7D}"/>
                </a:ext>
              </a:extLst>
            </p:cNvPr>
            <p:cNvSpPr/>
            <p:nvPr/>
          </p:nvSpPr>
          <p:spPr>
            <a:xfrm>
              <a:off x="8283804" y="3976557"/>
              <a:ext cx="398902" cy="62328"/>
            </a:xfrm>
            <a:custGeom>
              <a:avLst/>
              <a:gdLst>
                <a:gd name="connsiteX0" fmla="*/ 9349 w 398901"/>
                <a:gd name="connsiteY0" fmla="*/ 9349 h 62328"/>
                <a:gd name="connsiteX1" fmla="*/ 389553 w 398901"/>
                <a:gd name="connsiteY1" fmla="*/ 55472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901" h="62328">
                  <a:moveTo>
                    <a:pt x="9349" y="9349"/>
                  </a:moveTo>
                  <a:lnTo>
                    <a:pt x="389553" y="55472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5F5F0BFA-F6FF-4FED-8C55-3CB49D0606F0}"/>
                </a:ext>
              </a:extLst>
            </p:cNvPr>
            <p:cNvSpPr/>
            <p:nvPr/>
          </p:nvSpPr>
          <p:spPr>
            <a:xfrm>
              <a:off x="8283804" y="3976439"/>
              <a:ext cx="398902" cy="62328"/>
            </a:xfrm>
            <a:custGeom>
              <a:avLst/>
              <a:gdLst>
                <a:gd name="connsiteX0" fmla="*/ 389553 w 398901"/>
                <a:gd name="connsiteY0" fmla="*/ 55591 h 62328"/>
                <a:gd name="connsiteX1" fmla="*/ 198828 w 398901"/>
                <a:gd name="connsiteY1" fmla="*/ 35646 h 62328"/>
                <a:gd name="connsiteX2" fmla="*/ 9349 w 398901"/>
                <a:gd name="connsiteY2" fmla="*/ 9468 h 62328"/>
                <a:gd name="connsiteX3" fmla="*/ 200074 w 398901"/>
                <a:gd name="connsiteY3" fmla="*/ 29413 h 62328"/>
                <a:gd name="connsiteX4" fmla="*/ 389553 w 398901"/>
                <a:gd name="connsiteY4" fmla="*/ 55591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901" h="62328">
                  <a:moveTo>
                    <a:pt x="389553" y="55591"/>
                  </a:moveTo>
                  <a:cubicBezTo>
                    <a:pt x="389553" y="56837"/>
                    <a:pt x="303539" y="48111"/>
                    <a:pt x="198828" y="35646"/>
                  </a:cubicBezTo>
                  <a:cubicBezTo>
                    <a:pt x="94116" y="23180"/>
                    <a:pt x="9349" y="10714"/>
                    <a:pt x="9349" y="9468"/>
                  </a:cubicBezTo>
                  <a:cubicBezTo>
                    <a:pt x="9349" y="8221"/>
                    <a:pt x="95362" y="16947"/>
                    <a:pt x="200074" y="29413"/>
                  </a:cubicBezTo>
                  <a:cubicBezTo>
                    <a:pt x="304786" y="41879"/>
                    <a:pt x="389553" y="54344"/>
                    <a:pt x="389553" y="5559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65F4B1A6-6948-44D8-8329-2C1593611C3B}"/>
                </a:ext>
              </a:extLst>
            </p:cNvPr>
            <p:cNvSpPr/>
            <p:nvPr/>
          </p:nvSpPr>
          <p:spPr>
            <a:xfrm>
              <a:off x="8392255" y="3762439"/>
              <a:ext cx="124657" cy="37397"/>
            </a:xfrm>
            <a:custGeom>
              <a:avLst/>
              <a:gdLst>
                <a:gd name="connsiteX0" fmla="*/ 115308 w 124656"/>
                <a:gd name="connsiteY0" fmla="*/ 10305 h 37397"/>
                <a:gd name="connsiteX1" fmla="*/ 62952 w 124656"/>
                <a:gd name="connsiteY1" fmla="*/ 22770 h 37397"/>
                <a:gd name="connsiteX2" fmla="*/ 9349 w 124656"/>
                <a:gd name="connsiteY2" fmla="*/ 29003 h 37397"/>
                <a:gd name="connsiteX3" fmla="*/ 61705 w 124656"/>
                <a:gd name="connsiteY3" fmla="*/ 16538 h 37397"/>
                <a:gd name="connsiteX4" fmla="*/ 115308 w 124656"/>
                <a:gd name="connsiteY4" fmla="*/ 10305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37397">
                  <a:moveTo>
                    <a:pt x="115308" y="10305"/>
                  </a:moveTo>
                  <a:cubicBezTo>
                    <a:pt x="115308" y="11551"/>
                    <a:pt x="91622" y="17784"/>
                    <a:pt x="62952" y="22770"/>
                  </a:cubicBezTo>
                  <a:cubicBezTo>
                    <a:pt x="33034" y="27757"/>
                    <a:pt x="9349" y="30250"/>
                    <a:pt x="9349" y="29003"/>
                  </a:cubicBezTo>
                  <a:cubicBezTo>
                    <a:pt x="9349" y="27757"/>
                    <a:pt x="33034" y="21524"/>
                    <a:pt x="61705" y="16538"/>
                  </a:cubicBezTo>
                  <a:cubicBezTo>
                    <a:pt x="91622" y="10305"/>
                    <a:pt x="115308" y="7811"/>
                    <a:pt x="115308" y="10305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014F1279-F659-4CD2-9284-436240353936}"/>
                </a:ext>
              </a:extLst>
            </p:cNvPr>
            <p:cNvSpPr/>
            <p:nvPr/>
          </p:nvSpPr>
          <p:spPr>
            <a:xfrm>
              <a:off x="8414693" y="3791598"/>
              <a:ext cx="112191" cy="24931"/>
            </a:xfrm>
            <a:custGeom>
              <a:avLst/>
              <a:gdLst>
                <a:gd name="connsiteX0" fmla="*/ 107828 w 112191"/>
                <a:gd name="connsiteY0" fmla="*/ 24776 h 24931"/>
                <a:gd name="connsiteX1" fmla="*/ 57965 w 112191"/>
                <a:gd name="connsiteY1" fmla="*/ 21036 h 24931"/>
                <a:gd name="connsiteX2" fmla="*/ 9349 w 112191"/>
                <a:gd name="connsiteY2" fmla="*/ 9817 h 24931"/>
                <a:gd name="connsiteX3" fmla="*/ 59212 w 112191"/>
                <a:gd name="connsiteY3" fmla="*/ 13557 h 24931"/>
                <a:gd name="connsiteX4" fmla="*/ 107828 w 112191"/>
                <a:gd name="connsiteY4" fmla="*/ 2477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07828" y="24776"/>
                  </a:moveTo>
                  <a:cubicBezTo>
                    <a:pt x="107828" y="26022"/>
                    <a:pt x="85390" y="24776"/>
                    <a:pt x="57965" y="21036"/>
                  </a:cubicBezTo>
                  <a:cubicBezTo>
                    <a:pt x="30541" y="17296"/>
                    <a:pt x="9349" y="12310"/>
                    <a:pt x="9349" y="9817"/>
                  </a:cubicBezTo>
                  <a:cubicBezTo>
                    <a:pt x="9349" y="8570"/>
                    <a:pt x="31787" y="9817"/>
                    <a:pt x="59212" y="13557"/>
                  </a:cubicBezTo>
                  <a:cubicBezTo>
                    <a:pt x="85390" y="17296"/>
                    <a:pt x="107828" y="22282"/>
                    <a:pt x="107828" y="247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6F7850C6-FF49-43BC-AD1C-433F31F06A51}"/>
                </a:ext>
              </a:extLst>
            </p:cNvPr>
            <p:cNvSpPr/>
            <p:nvPr/>
          </p:nvSpPr>
          <p:spPr>
            <a:xfrm>
              <a:off x="8520558" y="3440044"/>
              <a:ext cx="224382" cy="49863"/>
            </a:xfrm>
            <a:custGeom>
              <a:avLst/>
              <a:gdLst>
                <a:gd name="connsiteX0" fmla="*/ 226346 w 224382"/>
                <a:gd name="connsiteY0" fmla="*/ 9838 h 49862"/>
                <a:gd name="connsiteX1" fmla="*/ 195182 w 224382"/>
                <a:gd name="connsiteY1" fmla="*/ 17318 h 49862"/>
                <a:gd name="connsiteX2" fmla="*/ 117895 w 224382"/>
                <a:gd name="connsiteY2" fmla="*/ 31030 h 49862"/>
                <a:gd name="connsiteX3" fmla="*/ 40607 w 224382"/>
                <a:gd name="connsiteY3" fmla="*/ 42249 h 49862"/>
                <a:gd name="connsiteX4" fmla="*/ 9443 w 224382"/>
                <a:gd name="connsiteY4" fmla="*/ 49728 h 49862"/>
                <a:gd name="connsiteX5" fmla="*/ 39361 w 224382"/>
                <a:gd name="connsiteY5" fmla="*/ 37263 h 49862"/>
                <a:gd name="connsiteX6" fmla="*/ 116648 w 224382"/>
                <a:gd name="connsiteY6" fmla="*/ 23551 h 49862"/>
                <a:gd name="connsiteX7" fmla="*/ 193935 w 224382"/>
                <a:gd name="connsiteY7" fmla="*/ 12331 h 49862"/>
                <a:gd name="connsiteX8" fmla="*/ 226346 w 224382"/>
                <a:gd name="connsiteY8" fmla="*/ 983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382" h="49862">
                  <a:moveTo>
                    <a:pt x="226346" y="9838"/>
                  </a:moveTo>
                  <a:cubicBezTo>
                    <a:pt x="226346" y="11085"/>
                    <a:pt x="213880" y="13578"/>
                    <a:pt x="195182" y="17318"/>
                  </a:cubicBezTo>
                  <a:cubicBezTo>
                    <a:pt x="175237" y="21057"/>
                    <a:pt x="147812" y="26044"/>
                    <a:pt x="117895" y="31030"/>
                  </a:cubicBezTo>
                  <a:cubicBezTo>
                    <a:pt x="87977" y="36016"/>
                    <a:pt x="60553" y="39756"/>
                    <a:pt x="40607" y="42249"/>
                  </a:cubicBezTo>
                  <a:cubicBezTo>
                    <a:pt x="20662" y="44742"/>
                    <a:pt x="9443" y="50975"/>
                    <a:pt x="9443" y="49728"/>
                  </a:cubicBezTo>
                  <a:cubicBezTo>
                    <a:pt x="8197" y="48482"/>
                    <a:pt x="19416" y="41003"/>
                    <a:pt x="39361" y="37263"/>
                  </a:cubicBezTo>
                  <a:cubicBezTo>
                    <a:pt x="59306" y="33523"/>
                    <a:pt x="86731" y="28537"/>
                    <a:pt x="116648" y="23551"/>
                  </a:cubicBezTo>
                  <a:cubicBezTo>
                    <a:pt x="146566" y="18564"/>
                    <a:pt x="173990" y="14825"/>
                    <a:pt x="193935" y="12331"/>
                  </a:cubicBezTo>
                  <a:cubicBezTo>
                    <a:pt x="213880" y="9838"/>
                    <a:pt x="226346" y="8592"/>
                    <a:pt x="226346" y="983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C9B86DB0-6A86-4D1A-9983-9A9898EA02AF}"/>
                </a:ext>
              </a:extLst>
            </p:cNvPr>
            <p:cNvSpPr/>
            <p:nvPr/>
          </p:nvSpPr>
          <p:spPr>
            <a:xfrm>
              <a:off x="8895869" y="3368232"/>
              <a:ext cx="112191" cy="62328"/>
            </a:xfrm>
            <a:custGeom>
              <a:avLst/>
              <a:gdLst>
                <a:gd name="connsiteX0" fmla="*/ 11842 w 112191"/>
                <a:gd name="connsiteY0" fmla="*/ 59212 h 62328"/>
                <a:gd name="connsiteX1" fmla="*/ 112814 w 112191"/>
                <a:gd name="connsiteY1" fmla="*/ 9349 h 62328"/>
                <a:gd name="connsiteX2" fmla="*/ 72924 w 112191"/>
                <a:gd name="connsiteY2" fmla="*/ 43007 h 62328"/>
                <a:gd name="connsiteX3" fmla="*/ 62952 w 112191"/>
                <a:gd name="connsiteY3" fmla="*/ 51733 h 62328"/>
                <a:gd name="connsiteX4" fmla="*/ 54226 w 112191"/>
                <a:gd name="connsiteY4" fmla="*/ 52979 h 62328"/>
                <a:gd name="connsiteX5" fmla="*/ 9349 w 112191"/>
                <a:gd name="connsiteY5" fmla="*/ 6045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91" h="62328">
                  <a:moveTo>
                    <a:pt x="11842" y="59212"/>
                  </a:moveTo>
                  <a:cubicBezTo>
                    <a:pt x="35527" y="28048"/>
                    <a:pt x="74171" y="13089"/>
                    <a:pt x="112814" y="9349"/>
                  </a:cubicBezTo>
                  <a:cubicBezTo>
                    <a:pt x="101595" y="21815"/>
                    <a:pt x="85390" y="31788"/>
                    <a:pt x="72924" y="43007"/>
                  </a:cubicBezTo>
                  <a:cubicBezTo>
                    <a:pt x="70431" y="45500"/>
                    <a:pt x="66691" y="50486"/>
                    <a:pt x="62952" y="51733"/>
                  </a:cubicBezTo>
                  <a:cubicBezTo>
                    <a:pt x="60459" y="52979"/>
                    <a:pt x="57965" y="51733"/>
                    <a:pt x="54226" y="52979"/>
                  </a:cubicBezTo>
                  <a:cubicBezTo>
                    <a:pt x="38020" y="56719"/>
                    <a:pt x="23062" y="56719"/>
                    <a:pt x="9349" y="6045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E639B3BE-5012-42D0-BA87-FF1063F47620}"/>
                </a:ext>
              </a:extLst>
            </p:cNvPr>
            <p:cNvSpPr/>
            <p:nvPr/>
          </p:nvSpPr>
          <p:spPr>
            <a:xfrm>
              <a:off x="8326082" y="3329589"/>
              <a:ext cx="137123" cy="249314"/>
            </a:xfrm>
            <a:custGeom>
              <a:avLst/>
              <a:gdLst>
                <a:gd name="connsiteX0" fmla="*/ 131618 w 137122"/>
                <a:gd name="connsiteY0" fmla="*/ 9349 h 249313"/>
                <a:gd name="connsiteX1" fmla="*/ 124139 w 137122"/>
                <a:gd name="connsiteY1" fmla="*/ 47993 h 249313"/>
                <a:gd name="connsiteX2" fmla="*/ 85495 w 137122"/>
                <a:gd name="connsiteY2" fmla="*/ 134006 h 249313"/>
                <a:gd name="connsiteX3" fmla="*/ 35632 w 137122"/>
                <a:gd name="connsiteY3" fmla="*/ 213786 h 249313"/>
                <a:gd name="connsiteX4" fmla="*/ 9454 w 137122"/>
                <a:gd name="connsiteY4" fmla="*/ 242457 h 249313"/>
                <a:gd name="connsiteX5" fmla="*/ 31893 w 137122"/>
                <a:gd name="connsiteY5" fmla="*/ 211293 h 249313"/>
                <a:gd name="connsiteX6" fmla="*/ 79262 w 137122"/>
                <a:gd name="connsiteY6" fmla="*/ 131513 h 249313"/>
                <a:gd name="connsiteX7" fmla="*/ 119153 w 137122"/>
                <a:gd name="connsiteY7" fmla="*/ 46746 h 249313"/>
                <a:gd name="connsiteX8" fmla="*/ 131618 w 137122"/>
                <a:gd name="connsiteY8" fmla="*/ 934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22" h="249313">
                  <a:moveTo>
                    <a:pt x="131618" y="9349"/>
                  </a:moveTo>
                  <a:cubicBezTo>
                    <a:pt x="132865" y="9349"/>
                    <a:pt x="132865" y="24308"/>
                    <a:pt x="124139" y="47993"/>
                  </a:cubicBezTo>
                  <a:cubicBezTo>
                    <a:pt x="115413" y="70431"/>
                    <a:pt x="101700" y="100349"/>
                    <a:pt x="85495" y="134006"/>
                  </a:cubicBezTo>
                  <a:cubicBezTo>
                    <a:pt x="69290" y="166417"/>
                    <a:pt x="50591" y="195088"/>
                    <a:pt x="35632" y="213786"/>
                  </a:cubicBezTo>
                  <a:cubicBezTo>
                    <a:pt x="20674" y="232485"/>
                    <a:pt x="9454" y="242457"/>
                    <a:pt x="9454" y="242457"/>
                  </a:cubicBezTo>
                  <a:cubicBezTo>
                    <a:pt x="8208" y="241211"/>
                    <a:pt x="18181" y="229992"/>
                    <a:pt x="31893" y="211293"/>
                  </a:cubicBezTo>
                  <a:cubicBezTo>
                    <a:pt x="45605" y="191348"/>
                    <a:pt x="63057" y="163924"/>
                    <a:pt x="79262" y="131513"/>
                  </a:cubicBezTo>
                  <a:cubicBezTo>
                    <a:pt x="95468" y="99102"/>
                    <a:pt x="109180" y="69184"/>
                    <a:pt x="119153" y="46746"/>
                  </a:cubicBezTo>
                  <a:cubicBezTo>
                    <a:pt x="129125" y="24308"/>
                    <a:pt x="130372" y="9349"/>
                    <a:pt x="13161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D30F3A97-3C22-4610-AB69-9E45FBAE9203}"/>
                </a:ext>
              </a:extLst>
            </p:cNvPr>
            <p:cNvSpPr/>
            <p:nvPr/>
          </p:nvSpPr>
          <p:spPr>
            <a:xfrm>
              <a:off x="8572930" y="4040133"/>
              <a:ext cx="37397" cy="511093"/>
            </a:xfrm>
            <a:custGeom>
              <a:avLst/>
              <a:gdLst>
                <a:gd name="connsiteX0" fmla="*/ 11920 w 37397"/>
                <a:gd name="connsiteY0" fmla="*/ 9349 h 511092"/>
                <a:gd name="connsiteX1" fmla="*/ 28126 w 37397"/>
                <a:gd name="connsiteY1" fmla="*/ 50423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97" h="511092">
                  <a:moveTo>
                    <a:pt x="11920" y="9349"/>
                  </a:moveTo>
                  <a:cubicBezTo>
                    <a:pt x="5687" y="175143"/>
                    <a:pt x="10674" y="340936"/>
                    <a:pt x="28126" y="504237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9AD47877-BC94-4664-A50C-FB921E22E015}"/>
                </a:ext>
              </a:extLst>
            </p:cNvPr>
            <p:cNvSpPr/>
            <p:nvPr/>
          </p:nvSpPr>
          <p:spPr>
            <a:xfrm>
              <a:off x="8570321" y="4038886"/>
              <a:ext cx="37397" cy="511093"/>
            </a:xfrm>
            <a:custGeom>
              <a:avLst/>
              <a:gdLst>
                <a:gd name="connsiteX0" fmla="*/ 31980 w 37397"/>
                <a:gd name="connsiteY0" fmla="*/ 505483 h 511092"/>
                <a:gd name="connsiteX1" fmla="*/ 28241 w 37397"/>
                <a:gd name="connsiteY1" fmla="*/ 486785 h 511092"/>
                <a:gd name="connsiteX2" fmla="*/ 22008 w 37397"/>
                <a:gd name="connsiteY2" fmla="*/ 434429 h 511092"/>
                <a:gd name="connsiteX3" fmla="*/ 10789 w 37397"/>
                <a:gd name="connsiteY3" fmla="*/ 258663 h 511092"/>
                <a:gd name="connsiteX4" fmla="*/ 10789 w 37397"/>
                <a:gd name="connsiteY4" fmla="*/ 82897 h 511092"/>
                <a:gd name="connsiteX5" fmla="*/ 13282 w 37397"/>
                <a:gd name="connsiteY5" fmla="*/ 29294 h 511092"/>
                <a:gd name="connsiteX6" fmla="*/ 15775 w 37397"/>
                <a:gd name="connsiteY6" fmla="*/ 9349 h 511092"/>
                <a:gd name="connsiteX7" fmla="*/ 15775 w 37397"/>
                <a:gd name="connsiteY7" fmla="*/ 29294 h 511092"/>
                <a:gd name="connsiteX8" fmla="*/ 15775 w 37397"/>
                <a:gd name="connsiteY8" fmla="*/ 82897 h 511092"/>
                <a:gd name="connsiteX9" fmla="*/ 18268 w 37397"/>
                <a:gd name="connsiteY9" fmla="*/ 258663 h 511092"/>
                <a:gd name="connsiteX10" fmla="*/ 28241 w 37397"/>
                <a:gd name="connsiteY10" fmla="*/ 433182 h 511092"/>
                <a:gd name="connsiteX11" fmla="*/ 31980 w 37397"/>
                <a:gd name="connsiteY11" fmla="*/ 486785 h 511092"/>
                <a:gd name="connsiteX12" fmla="*/ 31980 w 37397"/>
                <a:gd name="connsiteY12" fmla="*/ 505483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397" h="511092">
                  <a:moveTo>
                    <a:pt x="31980" y="505483"/>
                  </a:moveTo>
                  <a:cubicBezTo>
                    <a:pt x="31980" y="505483"/>
                    <a:pt x="30734" y="499250"/>
                    <a:pt x="28241" y="486785"/>
                  </a:cubicBezTo>
                  <a:cubicBezTo>
                    <a:pt x="26994" y="474319"/>
                    <a:pt x="24501" y="456867"/>
                    <a:pt x="22008" y="434429"/>
                  </a:cubicBezTo>
                  <a:cubicBezTo>
                    <a:pt x="17022" y="389553"/>
                    <a:pt x="13282" y="327224"/>
                    <a:pt x="10789" y="258663"/>
                  </a:cubicBezTo>
                  <a:cubicBezTo>
                    <a:pt x="8295" y="190102"/>
                    <a:pt x="9542" y="127773"/>
                    <a:pt x="10789" y="82897"/>
                  </a:cubicBezTo>
                  <a:cubicBezTo>
                    <a:pt x="12035" y="60459"/>
                    <a:pt x="12035" y="41760"/>
                    <a:pt x="13282" y="29294"/>
                  </a:cubicBezTo>
                  <a:cubicBezTo>
                    <a:pt x="14528" y="16829"/>
                    <a:pt x="14528" y="9349"/>
                    <a:pt x="15775" y="9349"/>
                  </a:cubicBezTo>
                  <a:cubicBezTo>
                    <a:pt x="15775" y="9349"/>
                    <a:pt x="17022" y="16829"/>
                    <a:pt x="15775" y="29294"/>
                  </a:cubicBezTo>
                  <a:cubicBezTo>
                    <a:pt x="15775" y="43006"/>
                    <a:pt x="15775" y="60459"/>
                    <a:pt x="15775" y="82897"/>
                  </a:cubicBezTo>
                  <a:cubicBezTo>
                    <a:pt x="15775" y="127773"/>
                    <a:pt x="15775" y="190102"/>
                    <a:pt x="18268" y="258663"/>
                  </a:cubicBezTo>
                  <a:cubicBezTo>
                    <a:pt x="20761" y="327224"/>
                    <a:pt x="24501" y="388306"/>
                    <a:pt x="28241" y="433182"/>
                  </a:cubicBezTo>
                  <a:cubicBezTo>
                    <a:pt x="29487" y="454374"/>
                    <a:pt x="30734" y="473072"/>
                    <a:pt x="31980" y="486785"/>
                  </a:cubicBezTo>
                  <a:cubicBezTo>
                    <a:pt x="31980" y="499250"/>
                    <a:pt x="31980" y="505483"/>
                    <a:pt x="31980" y="5054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0B8F1AC4-331B-4C9D-8AA9-2CDE5A43A521}"/>
                </a:ext>
              </a:extLst>
            </p:cNvPr>
            <p:cNvSpPr/>
            <p:nvPr/>
          </p:nvSpPr>
          <p:spPr>
            <a:xfrm>
              <a:off x="9130223" y="3090247"/>
              <a:ext cx="137123" cy="124657"/>
            </a:xfrm>
            <a:custGeom>
              <a:avLst/>
              <a:gdLst>
                <a:gd name="connsiteX0" fmla="*/ 18075 w 137122"/>
                <a:gd name="connsiteY0" fmla="*/ 96609 h 124656"/>
                <a:gd name="connsiteX1" fmla="*/ 61705 w 137122"/>
                <a:gd name="connsiteY1" fmla="*/ 9349 h 124656"/>
                <a:gd name="connsiteX2" fmla="*/ 61705 w 137122"/>
                <a:gd name="connsiteY2" fmla="*/ 47993 h 124656"/>
                <a:gd name="connsiteX3" fmla="*/ 107828 w 137122"/>
                <a:gd name="connsiteY3" fmla="*/ 26801 h 124656"/>
                <a:gd name="connsiteX4" fmla="*/ 85390 w 137122"/>
                <a:gd name="connsiteY4" fmla="*/ 51733 h 124656"/>
                <a:gd name="connsiteX5" fmla="*/ 126527 w 137122"/>
                <a:gd name="connsiteY5" fmla="*/ 44253 h 124656"/>
                <a:gd name="connsiteX6" fmla="*/ 89130 w 137122"/>
                <a:gd name="connsiteY6" fmla="*/ 71678 h 124656"/>
                <a:gd name="connsiteX7" fmla="*/ 130267 w 137122"/>
                <a:gd name="connsiteY7" fmla="*/ 67938 h 124656"/>
                <a:gd name="connsiteX8" fmla="*/ 126527 w 137122"/>
                <a:gd name="connsiteY8" fmla="*/ 75417 h 124656"/>
                <a:gd name="connsiteX9" fmla="*/ 96609 w 137122"/>
                <a:gd name="connsiteY9" fmla="*/ 89130 h 124656"/>
                <a:gd name="connsiteX10" fmla="*/ 114061 w 137122"/>
                <a:gd name="connsiteY10" fmla="*/ 90376 h 124656"/>
                <a:gd name="connsiteX11" fmla="*/ 120294 w 137122"/>
                <a:gd name="connsiteY11" fmla="*/ 92869 h 124656"/>
                <a:gd name="connsiteX12" fmla="*/ 116554 w 137122"/>
                <a:gd name="connsiteY12" fmla="*/ 101595 h 124656"/>
                <a:gd name="connsiteX13" fmla="*/ 87883 w 137122"/>
                <a:gd name="connsiteY13" fmla="*/ 112814 h 124656"/>
                <a:gd name="connsiteX14" fmla="*/ 52979 w 137122"/>
                <a:gd name="connsiteY14" fmla="*/ 122787 h 124656"/>
                <a:gd name="connsiteX15" fmla="*/ 50486 w 137122"/>
                <a:gd name="connsiteY15" fmla="*/ 122787 h 124656"/>
                <a:gd name="connsiteX16" fmla="*/ 47993 w 137122"/>
                <a:gd name="connsiteY16" fmla="*/ 120294 h 124656"/>
                <a:gd name="connsiteX17" fmla="*/ 9349 w 137122"/>
                <a:gd name="connsiteY17" fmla="*/ 96609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7122" h="124656">
                  <a:moveTo>
                    <a:pt x="18075" y="96609"/>
                  </a:moveTo>
                  <a:cubicBezTo>
                    <a:pt x="26801" y="65445"/>
                    <a:pt x="38021" y="31788"/>
                    <a:pt x="61705" y="9349"/>
                  </a:cubicBezTo>
                  <a:cubicBezTo>
                    <a:pt x="69185" y="20568"/>
                    <a:pt x="56719" y="35527"/>
                    <a:pt x="61705" y="47993"/>
                  </a:cubicBezTo>
                  <a:cubicBezTo>
                    <a:pt x="74171" y="35527"/>
                    <a:pt x="90376" y="23062"/>
                    <a:pt x="107828" y="26801"/>
                  </a:cubicBezTo>
                  <a:cubicBezTo>
                    <a:pt x="102842" y="36774"/>
                    <a:pt x="95362" y="46746"/>
                    <a:pt x="85390" y="51733"/>
                  </a:cubicBezTo>
                  <a:cubicBezTo>
                    <a:pt x="97856" y="45500"/>
                    <a:pt x="112815" y="39267"/>
                    <a:pt x="126527" y="44253"/>
                  </a:cubicBezTo>
                  <a:cubicBezTo>
                    <a:pt x="114061" y="54226"/>
                    <a:pt x="101595" y="62952"/>
                    <a:pt x="89130" y="71678"/>
                  </a:cubicBezTo>
                  <a:cubicBezTo>
                    <a:pt x="102842" y="69185"/>
                    <a:pt x="116554" y="67938"/>
                    <a:pt x="130267" y="67938"/>
                  </a:cubicBezTo>
                  <a:cubicBezTo>
                    <a:pt x="132759" y="70431"/>
                    <a:pt x="129020" y="74171"/>
                    <a:pt x="126527" y="75417"/>
                  </a:cubicBezTo>
                  <a:cubicBezTo>
                    <a:pt x="116554" y="81650"/>
                    <a:pt x="106582" y="85390"/>
                    <a:pt x="96609" y="89130"/>
                  </a:cubicBezTo>
                  <a:cubicBezTo>
                    <a:pt x="102842" y="89130"/>
                    <a:pt x="107828" y="90376"/>
                    <a:pt x="114061" y="90376"/>
                  </a:cubicBezTo>
                  <a:cubicBezTo>
                    <a:pt x="116554" y="90376"/>
                    <a:pt x="119048" y="90376"/>
                    <a:pt x="120294" y="92869"/>
                  </a:cubicBezTo>
                  <a:cubicBezTo>
                    <a:pt x="121540" y="95362"/>
                    <a:pt x="119048" y="99102"/>
                    <a:pt x="116554" y="101595"/>
                  </a:cubicBezTo>
                  <a:cubicBezTo>
                    <a:pt x="107828" y="107828"/>
                    <a:pt x="97856" y="110321"/>
                    <a:pt x="87883" y="112814"/>
                  </a:cubicBezTo>
                  <a:cubicBezTo>
                    <a:pt x="76664" y="116554"/>
                    <a:pt x="64198" y="119047"/>
                    <a:pt x="52979" y="122787"/>
                  </a:cubicBezTo>
                  <a:cubicBezTo>
                    <a:pt x="51733" y="122787"/>
                    <a:pt x="51733" y="122787"/>
                    <a:pt x="50486" y="122787"/>
                  </a:cubicBezTo>
                  <a:cubicBezTo>
                    <a:pt x="49240" y="122787"/>
                    <a:pt x="47993" y="121540"/>
                    <a:pt x="47993" y="120294"/>
                  </a:cubicBezTo>
                  <a:cubicBezTo>
                    <a:pt x="38021" y="109075"/>
                    <a:pt x="24308" y="100349"/>
                    <a:pt x="9349" y="9660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FB6A2E6D-2C73-4400-9669-F794E5256329}"/>
                </a:ext>
              </a:extLst>
            </p:cNvPr>
            <p:cNvSpPr/>
            <p:nvPr/>
          </p:nvSpPr>
          <p:spPr>
            <a:xfrm>
              <a:off x="10966419" y="1186738"/>
              <a:ext cx="174520" cy="174520"/>
            </a:xfrm>
            <a:custGeom>
              <a:avLst/>
              <a:gdLst>
                <a:gd name="connsiteX0" fmla="*/ 90376 w 174519"/>
                <a:gd name="connsiteY0" fmla="*/ 9349 h 174519"/>
                <a:gd name="connsiteX1" fmla="*/ 120293 w 174519"/>
                <a:gd name="connsiteY1" fmla="*/ 61705 h 174519"/>
                <a:gd name="connsiteX2" fmla="*/ 172649 w 174519"/>
                <a:gd name="connsiteY2" fmla="*/ 90376 h 174519"/>
                <a:gd name="connsiteX3" fmla="*/ 120293 w 174519"/>
                <a:gd name="connsiteY3" fmla="*/ 120294 h 174519"/>
                <a:gd name="connsiteX4" fmla="*/ 90376 w 174519"/>
                <a:gd name="connsiteY4" fmla="*/ 172650 h 174519"/>
                <a:gd name="connsiteX5" fmla="*/ 61705 w 174519"/>
                <a:gd name="connsiteY5" fmla="*/ 120294 h 174519"/>
                <a:gd name="connsiteX6" fmla="*/ 9349 w 174519"/>
                <a:gd name="connsiteY6" fmla="*/ 90376 h 174519"/>
                <a:gd name="connsiteX7" fmla="*/ 61705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0376" y="9349"/>
                  </a:moveTo>
                  <a:lnTo>
                    <a:pt x="120293" y="61705"/>
                  </a:lnTo>
                  <a:lnTo>
                    <a:pt x="172649" y="90376"/>
                  </a:lnTo>
                  <a:lnTo>
                    <a:pt x="120293" y="120294"/>
                  </a:lnTo>
                  <a:lnTo>
                    <a:pt x="90376" y="172650"/>
                  </a:lnTo>
                  <a:lnTo>
                    <a:pt x="61705" y="120294"/>
                  </a:lnTo>
                  <a:lnTo>
                    <a:pt x="9349" y="90376"/>
                  </a:lnTo>
                  <a:lnTo>
                    <a:pt x="61705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C957272C-AB0E-427E-9E58-2A8B4E369FC4}"/>
                </a:ext>
              </a:extLst>
            </p:cNvPr>
            <p:cNvSpPr/>
            <p:nvPr/>
          </p:nvSpPr>
          <p:spPr>
            <a:xfrm>
              <a:off x="6322952" y="1104464"/>
              <a:ext cx="174520" cy="174520"/>
            </a:xfrm>
            <a:custGeom>
              <a:avLst/>
              <a:gdLst>
                <a:gd name="connsiteX0" fmla="*/ 91622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1623 h 174519"/>
                <a:gd name="connsiteX3" fmla="*/ 120294 w 174519"/>
                <a:gd name="connsiteY3" fmla="*/ 120294 h 174519"/>
                <a:gd name="connsiteX4" fmla="*/ 91622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1623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2" y="9349"/>
                  </a:moveTo>
                  <a:lnTo>
                    <a:pt x="120294" y="61705"/>
                  </a:lnTo>
                  <a:lnTo>
                    <a:pt x="173896" y="91623"/>
                  </a:lnTo>
                  <a:lnTo>
                    <a:pt x="120294" y="120294"/>
                  </a:lnTo>
                  <a:lnTo>
                    <a:pt x="91622" y="172650"/>
                  </a:lnTo>
                  <a:lnTo>
                    <a:pt x="62952" y="120294"/>
                  </a:lnTo>
                  <a:lnTo>
                    <a:pt x="9349" y="91623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F1BD8038-4886-4403-8D81-AEC82963B2ED}"/>
                </a:ext>
              </a:extLst>
            </p:cNvPr>
            <p:cNvSpPr/>
            <p:nvPr/>
          </p:nvSpPr>
          <p:spPr>
            <a:xfrm>
              <a:off x="8445857" y="2102965"/>
              <a:ext cx="261779" cy="261779"/>
            </a:xfrm>
            <a:custGeom>
              <a:avLst/>
              <a:gdLst>
                <a:gd name="connsiteX0" fmla="*/ 134006 w 261779"/>
                <a:gd name="connsiteY0" fmla="*/ 9349 h 261779"/>
                <a:gd name="connsiteX1" fmla="*/ 177636 w 261779"/>
                <a:gd name="connsiteY1" fmla="*/ 90376 h 261779"/>
                <a:gd name="connsiteX2" fmla="*/ 258663 w 261779"/>
                <a:gd name="connsiteY2" fmla="*/ 135253 h 261779"/>
                <a:gd name="connsiteX3" fmla="*/ 177636 w 261779"/>
                <a:gd name="connsiteY3" fmla="*/ 178882 h 261779"/>
                <a:gd name="connsiteX4" fmla="*/ 134006 w 261779"/>
                <a:gd name="connsiteY4" fmla="*/ 259909 h 261779"/>
                <a:gd name="connsiteX5" fmla="*/ 89130 w 261779"/>
                <a:gd name="connsiteY5" fmla="*/ 178882 h 261779"/>
                <a:gd name="connsiteX6" fmla="*/ 9349 w 261779"/>
                <a:gd name="connsiteY6" fmla="*/ 135253 h 261779"/>
                <a:gd name="connsiteX7" fmla="*/ 89130 w 261779"/>
                <a:gd name="connsiteY7" fmla="*/ 90376 h 26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1779" h="261779">
                  <a:moveTo>
                    <a:pt x="134006" y="9349"/>
                  </a:moveTo>
                  <a:lnTo>
                    <a:pt x="177636" y="90376"/>
                  </a:lnTo>
                  <a:lnTo>
                    <a:pt x="258663" y="135253"/>
                  </a:lnTo>
                  <a:lnTo>
                    <a:pt x="177636" y="178882"/>
                  </a:lnTo>
                  <a:lnTo>
                    <a:pt x="134006" y="259909"/>
                  </a:lnTo>
                  <a:lnTo>
                    <a:pt x="89130" y="178882"/>
                  </a:lnTo>
                  <a:lnTo>
                    <a:pt x="9349" y="135253"/>
                  </a:lnTo>
                  <a:lnTo>
                    <a:pt x="89130" y="90376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4F10C595-3261-47F3-A056-F99FA8051484}"/>
                </a:ext>
              </a:extLst>
            </p:cNvPr>
            <p:cNvSpPr/>
            <p:nvPr/>
          </p:nvSpPr>
          <p:spPr>
            <a:xfrm>
              <a:off x="6600936" y="1470955"/>
              <a:ext cx="436299" cy="436299"/>
            </a:xfrm>
            <a:custGeom>
              <a:avLst/>
              <a:gdLst>
                <a:gd name="connsiteX0" fmla="*/ 222513 w 436298"/>
                <a:gd name="connsiteY0" fmla="*/ 9349 h 436298"/>
                <a:gd name="connsiteX1" fmla="*/ 221266 w 436298"/>
                <a:gd name="connsiteY1" fmla="*/ 11842 h 436298"/>
                <a:gd name="connsiteX2" fmla="*/ 217526 w 436298"/>
                <a:gd name="connsiteY2" fmla="*/ 19322 h 436298"/>
                <a:gd name="connsiteX3" fmla="*/ 203814 w 436298"/>
                <a:gd name="connsiteY3" fmla="*/ 46746 h 436298"/>
                <a:gd name="connsiteX4" fmla="*/ 151458 w 436298"/>
                <a:gd name="connsiteY4" fmla="*/ 145225 h 436298"/>
                <a:gd name="connsiteX5" fmla="*/ 151458 w 436298"/>
                <a:gd name="connsiteY5" fmla="*/ 145225 h 436298"/>
                <a:gd name="connsiteX6" fmla="*/ 151458 w 436298"/>
                <a:gd name="connsiteY6" fmla="*/ 145225 h 436298"/>
                <a:gd name="connsiteX7" fmla="*/ 16829 w 436298"/>
                <a:gd name="connsiteY7" fmla="*/ 220019 h 436298"/>
                <a:gd name="connsiteX8" fmla="*/ 16829 w 436298"/>
                <a:gd name="connsiteY8" fmla="*/ 215033 h 436298"/>
                <a:gd name="connsiteX9" fmla="*/ 151458 w 436298"/>
                <a:gd name="connsiteY9" fmla="*/ 288581 h 436298"/>
                <a:gd name="connsiteX10" fmla="*/ 152705 w 436298"/>
                <a:gd name="connsiteY10" fmla="*/ 288581 h 436298"/>
                <a:gd name="connsiteX11" fmla="*/ 152705 w 436298"/>
                <a:gd name="connsiteY11" fmla="*/ 289827 h 436298"/>
                <a:gd name="connsiteX12" fmla="*/ 226252 w 436298"/>
                <a:gd name="connsiteY12" fmla="*/ 424456 h 436298"/>
                <a:gd name="connsiteX13" fmla="*/ 220019 w 436298"/>
                <a:gd name="connsiteY13" fmla="*/ 424456 h 436298"/>
                <a:gd name="connsiteX14" fmla="*/ 220019 w 436298"/>
                <a:gd name="connsiteY14" fmla="*/ 424456 h 436298"/>
                <a:gd name="connsiteX15" fmla="*/ 220019 w 436298"/>
                <a:gd name="connsiteY15" fmla="*/ 424456 h 436298"/>
                <a:gd name="connsiteX16" fmla="*/ 220019 w 436298"/>
                <a:gd name="connsiteY16" fmla="*/ 424456 h 436298"/>
                <a:gd name="connsiteX17" fmla="*/ 220019 w 436298"/>
                <a:gd name="connsiteY17" fmla="*/ 424456 h 436298"/>
                <a:gd name="connsiteX18" fmla="*/ 220019 w 436298"/>
                <a:gd name="connsiteY18" fmla="*/ 424456 h 436298"/>
                <a:gd name="connsiteX19" fmla="*/ 220019 w 436298"/>
                <a:gd name="connsiteY19" fmla="*/ 423210 h 436298"/>
                <a:gd name="connsiteX20" fmla="*/ 221266 w 436298"/>
                <a:gd name="connsiteY20" fmla="*/ 420717 h 436298"/>
                <a:gd name="connsiteX21" fmla="*/ 223759 w 436298"/>
                <a:gd name="connsiteY21" fmla="*/ 416977 h 436298"/>
                <a:gd name="connsiteX22" fmla="*/ 228745 w 436298"/>
                <a:gd name="connsiteY22" fmla="*/ 408251 h 436298"/>
                <a:gd name="connsiteX23" fmla="*/ 238718 w 436298"/>
                <a:gd name="connsiteY23" fmla="*/ 390799 h 436298"/>
                <a:gd name="connsiteX24" fmla="*/ 257416 w 436298"/>
                <a:gd name="connsiteY24" fmla="*/ 357142 h 436298"/>
                <a:gd name="connsiteX25" fmla="*/ 293567 w 436298"/>
                <a:gd name="connsiteY25" fmla="*/ 291074 h 436298"/>
                <a:gd name="connsiteX26" fmla="*/ 293567 w 436298"/>
                <a:gd name="connsiteY26" fmla="*/ 289827 h 436298"/>
                <a:gd name="connsiteX27" fmla="*/ 294813 w 436298"/>
                <a:gd name="connsiteY27" fmla="*/ 289827 h 436298"/>
                <a:gd name="connsiteX28" fmla="*/ 429443 w 436298"/>
                <a:gd name="connsiteY28" fmla="*/ 216280 h 436298"/>
                <a:gd name="connsiteX29" fmla="*/ 429443 w 436298"/>
                <a:gd name="connsiteY29" fmla="*/ 221266 h 436298"/>
                <a:gd name="connsiteX30" fmla="*/ 294813 w 436298"/>
                <a:gd name="connsiteY30" fmla="*/ 146472 h 436298"/>
                <a:gd name="connsiteX31" fmla="*/ 294813 w 436298"/>
                <a:gd name="connsiteY31" fmla="*/ 146472 h 436298"/>
                <a:gd name="connsiteX32" fmla="*/ 294813 w 436298"/>
                <a:gd name="connsiteY32" fmla="*/ 146472 h 436298"/>
                <a:gd name="connsiteX33" fmla="*/ 242458 w 436298"/>
                <a:gd name="connsiteY33" fmla="*/ 47993 h 436298"/>
                <a:gd name="connsiteX34" fmla="*/ 228745 w 436298"/>
                <a:gd name="connsiteY34" fmla="*/ 20568 h 436298"/>
                <a:gd name="connsiteX35" fmla="*/ 225005 w 436298"/>
                <a:gd name="connsiteY35" fmla="*/ 13089 h 436298"/>
                <a:gd name="connsiteX36" fmla="*/ 222513 w 436298"/>
                <a:gd name="connsiteY36" fmla="*/ 9349 h 436298"/>
                <a:gd name="connsiteX37" fmla="*/ 227499 w 436298"/>
                <a:gd name="connsiteY37" fmla="*/ 18075 h 436298"/>
                <a:gd name="connsiteX38" fmla="*/ 242458 w 436298"/>
                <a:gd name="connsiteY38" fmla="*/ 44253 h 436298"/>
                <a:gd name="connsiteX39" fmla="*/ 298553 w 436298"/>
                <a:gd name="connsiteY39" fmla="*/ 142732 h 436298"/>
                <a:gd name="connsiteX40" fmla="*/ 297307 w 436298"/>
                <a:gd name="connsiteY40" fmla="*/ 141485 h 436298"/>
                <a:gd name="connsiteX41" fmla="*/ 431936 w 436298"/>
                <a:gd name="connsiteY41" fmla="*/ 215033 h 436298"/>
                <a:gd name="connsiteX42" fmla="*/ 436922 w 436298"/>
                <a:gd name="connsiteY42" fmla="*/ 217526 h 436298"/>
                <a:gd name="connsiteX43" fmla="*/ 431936 w 436298"/>
                <a:gd name="connsiteY43" fmla="*/ 220019 h 436298"/>
                <a:gd name="connsiteX44" fmla="*/ 297307 w 436298"/>
                <a:gd name="connsiteY44" fmla="*/ 293567 h 436298"/>
                <a:gd name="connsiteX45" fmla="*/ 298553 w 436298"/>
                <a:gd name="connsiteY45" fmla="*/ 292320 h 436298"/>
                <a:gd name="connsiteX46" fmla="*/ 262402 w 436298"/>
                <a:gd name="connsiteY46" fmla="*/ 358388 h 436298"/>
                <a:gd name="connsiteX47" fmla="*/ 243704 w 436298"/>
                <a:gd name="connsiteY47" fmla="*/ 392046 h 436298"/>
                <a:gd name="connsiteX48" fmla="*/ 233732 w 436298"/>
                <a:gd name="connsiteY48" fmla="*/ 409498 h 436298"/>
                <a:gd name="connsiteX49" fmla="*/ 228745 w 436298"/>
                <a:gd name="connsiteY49" fmla="*/ 418224 h 436298"/>
                <a:gd name="connsiteX50" fmla="*/ 226252 w 436298"/>
                <a:gd name="connsiteY50" fmla="*/ 421963 h 436298"/>
                <a:gd name="connsiteX51" fmla="*/ 227499 w 436298"/>
                <a:gd name="connsiteY51" fmla="*/ 425703 h 436298"/>
                <a:gd name="connsiteX52" fmla="*/ 227499 w 436298"/>
                <a:gd name="connsiteY52" fmla="*/ 426950 h 436298"/>
                <a:gd name="connsiteX53" fmla="*/ 227499 w 436298"/>
                <a:gd name="connsiteY53" fmla="*/ 426950 h 436298"/>
                <a:gd name="connsiteX54" fmla="*/ 227499 w 436298"/>
                <a:gd name="connsiteY54" fmla="*/ 426950 h 436298"/>
                <a:gd name="connsiteX55" fmla="*/ 227499 w 436298"/>
                <a:gd name="connsiteY55" fmla="*/ 426950 h 436298"/>
                <a:gd name="connsiteX56" fmla="*/ 227499 w 436298"/>
                <a:gd name="connsiteY56" fmla="*/ 426950 h 436298"/>
                <a:gd name="connsiteX57" fmla="*/ 227499 w 436298"/>
                <a:gd name="connsiteY57" fmla="*/ 426950 h 436298"/>
                <a:gd name="connsiteX58" fmla="*/ 221266 w 436298"/>
                <a:gd name="connsiteY58" fmla="*/ 426950 h 436298"/>
                <a:gd name="connsiteX59" fmla="*/ 147718 w 436298"/>
                <a:gd name="connsiteY59" fmla="*/ 292320 h 436298"/>
                <a:gd name="connsiteX60" fmla="*/ 148965 w 436298"/>
                <a:gd name="connsiteY60" fmla="*/ 293567 h 436298"/>
                <a:gd name="connsiteX61" fmla="*/ 14335 w 436298"/>
                <a:gd name="connsiteY61" fmla="*/ 220019 h 436298"/>
                <a:gd name="connsiteX62" fmla="*/ 9349 w 436298"/>
                <a:gd name="connsiteY62" fmla="*/ 217526 h 436298"/>
                <a:gd name="connsiteX63" fmla="*/ 14335 w 436298"/>
                <a:gd name="connsiteY63" fmla="*/ 215033 h 436298"/>
                <a:gd name="connsiteX64" fmla="*/ 148965 w 436298"/>
                <a:gd name="connsiteY64" fmla="*/ 141485 h 436298"/>
                <a:gd name="connsiteX65" fmla="*/ 147718 w 436298"/>
                <a:gd name="connsiteY65" fmla="*/ 142732 h 436298"/>
                <a:gd name="connsiteX66" fmla="*/ 203814 w 436298"/>
                <a:gd name="connsiteY66" fmla="*/ 44253 h 436298"/>
                <a:gd name="connsiteX67" fmla="*/ 218773 w 436298"/>
                <a:gd name="connsiteY67" fmla="*/ 18075 h 436298"/>
                <a:gd name="connsiteX68" fmla="*/ 222513 w 436298"/>
                <a:gd name="connsiteY68" fmla="*/ 9349 h 43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36298" h="436298">
                  <a:moveTo>
                    <a:pt x="222513" y="9349"/>
                  </a:moveTo>
                  <a:cubicBezTo>
                    <a:pt x="222513" y="9349"/>
                    <a:pt x="222513" y="10596"/>
                    <a:pt x="221266" y="11842"/>
                  </a:cubicBezTo>
                  <a:cubicBezTo>
                    <a:pt x="220019" y="14336"/>
                    <a:pt x="218773" y="15582"/>
                    <a:pt x="217526" y="19322"/>
                  </a:cubicBezTo>
                  <a:cubicBezTo>
                    <a:pt x="213786" y="25555"/>
                    <a:pt x="208800" y="35527"/>
                    <a:pt x="203814" y="46746"/>
                  </a:cubicBezTo>
                  <a:cubicBezTo>
                    <a:pt x="191348" y="70431"/>
                    <a:pt x="173896" y="104088"/>
                    <a:pt x="151458" y="145225"/>
                  </a:cubicBezTo>
                  <a:lnTo>
                    <a:pt x="151458" y="145225"/>
                  </a:lnTo>
                  <a:lnTo>
                    <a:pt x="151458" y="145225"/>
                  </a:lnTo>
                  <a:cubicBezTo>
                    <a:pt x="114061" y="166417"/>
                    <a:pt x="67938" y="191348"/>
                    <a:pt x="16829" y="220019"/>
                  </a:cubicBezTo>
                  <a:lnTo>
                    <a:pt x="16829" y="215033"/>
                  </a:lnTo>
                  <a:cubicBezTo>
                    <a:pt x="57965" y="237471"/>
                    <a:pt x="102842" y="262403"/>
                    <a:pt x="151458" y="288581"/>
                  </a:cubicBezTo>
                  <a:lnTo>
                    <a:pt x="152705" y="288581"/>
                  </a:lnTo>
                  <a:lnTo>
                    <a:pt x="152705" y="289827"/>
                  </a:lnTo>
                  <a:cubicBezTo>
                    <a:pt x="176389" y="332210"/>
                    <a:pt x="201321" y="377087"/>
                    <a:pt x="226252" y="424456"/>
                  </a:cubicBezTo>
                  <a:cubicBezTo>
                    <a:pt x="223759" y="424456"/>
                    <a:pt x="232485" y="424456"/>
                    <a:pt x="220019" y="424456"/>
                  </a:cubicBez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3210"/>
                  </a:lnTo>
                  <a:lnTo>
                    <a:pt x="221266" y="420717"/>
                  </a:lnTo>
                  <a:lnTo>
                    <a:pt x="223759" y="416977"/>
                  </a:lnTo>
                  <a:lnTo>
                    <a:pt x="228745" y="408251"/>
                  </a:lnTo>
                  <a:cubicBezTo>
                    <a:pt x="232485" y="402018"/>
                    <a:pt x="234978" y="397032"/>
                    <a:pt x="238718" y="390799"/>
                  </a:cubicBezTo>
                  <a:cubicBezTo>
                    <a:pt x="244951" y="379580"/>
                    <a:pt x="251183" y="368361"/>
                    <a:pt x="257416" y="357142"/>
                  </a:cubicBezTo>
                  <a:cubicBezTo>
                    <a:pt x="269882" y="334704"/>
                    <a:pt x="282348" y="312265"/>
                    <a:pt x="293567" y="291074"/>
                  </a:cubicBezTo>
                  <a:lnTo>
                    <a:pt x="293567" y="289827"/>
                  </a:lnTo>
                  <a:lnTo>
                    <a:pt x="294813" y="289827"/>
                  </a:lnTo>
                  <a:cubicBezTo>
                    <a:pt x="342183" y="263649"/>
                    <a:pt x="388306" y="238718"/>
                    <a:pt x="429443" y="216280"/>
                  </a:cubicBezTo>
                  <a:lnTo>
                    <a:pt x="429443" y="221266"/>
                  </a:lnTo>
                  <a:cubicBezTo>
                    <a:pt x="378334" y="192595"/>
                    <a:pt x="333457" y="167663"/>
                    <a:pt x="294813" y="146472"/>
                  </a:cubicBezTo>
                  <a:lnTo>
                    <a:pt x="294813" y="146472"/>
                  </a:lnTo>
                  <a:lnTo>
                    <a:pt x="294813" y="146472"/>
                  </a:lnTo>
                  <a:cubicBezTo>
                    <a:pt x="272375" y="104088"/>
                    <a:pt x="254923" y="71678"/>
                    <a:pt x="242458" y="47993"/>
                  </a:cubicBezTo>
                  <a:cubicBezTo>
                    <a:pt x="236225" y="36774"/>
                    <a:pt x="231238" y="28048"/>
                    <a:pt x="228745" y="20568"/>
                  </a:cubicBezTo>
                  <a:cubicBezTo>
                    <a:pt x="227499" y="18075"/>
                    <a:pt x="226252" y="15582"/>
                    <a:pt x="225005" y="13089"/>
                  </a:cubicBezTo>
                  <a:cubicBezTo>
                    <a:pt x="223759" y="10596"/>
                    <a:pt x="222513" y="9349"/>
                    <a:pt x="222513" y="9349"/>
                  </a:cubicBezTo>
                  <a:cubicBezTo>
                    <a:pt x="222513" y="9349"/>
                    <a:pt x="223759" y="11842"/>
                    <a:pt x="227499" y="18075"/>
                  </a:cubicBezTo>
                  <a:cubicBezTo>
                    <a:pt x="231238" y="24308"/>
                    <a:pt x="236225" y="33034"/>
                    <a:pt x="242458" y="44253"/>
                  </a:cubicBezTo>
                  <a:cubicBezTo>
                    <a:pt x="256170" y="67938"/>
                    <a:pt x="274868" y="101595"/>
                    <a:pt x="298553" y="142732"/>
                  </a:cubicBezTo>
                  <a:lnTo>
                    <a:pt x="297307" y="141485"/>
                  </a:lnTo>
                  <a:cubicBezTo>
                    <a:pt x="335950" y="162677"/>
                    <a:pt x="380826" y="186362"/>
                    <a:pt x="431936" y="215033"/>
                  </a:cubicBezTo>
                  <a:lnTo>
                    <a:pt x="436922" y="217526"/>
                  </a:lnTo>
                  <a:lnTo>
                    <a:pt x="431936" y="220019"/>
                  </a:lnTo>
                  <a:cubicBezTo>
                    <a:pt x="390799" y="242458"/>
                    <a:pt x="345923" y="267389"/>
                    <a:pt x="297307" y="293567"/>
                  </a:cubicBezTo>
                  <a:lnTo>
                    <a:pt x="298553" y="292320"/>
                  </a:lnTo>
                  <a:cubicBezTo>
                    <a:pt x="287334" y="313512"/>
                    <a:pt x="274868" y="335950"/>
                    <a:pt x="262402" y="358388"/>
                  </a:cubicBezTo>
                  <a:cubicBezTo>
                    <a:pt x="256170" y="369608"/>
                    <a:pt x="249937" y="380827"/>
                    <a:pt x="243704" y="392046"/>
                  </a:cubicBezTo>
                  <a:cubicBezTo>
                    <a:pt x="239964" y="398279"/>
                    <a:pt x="237471" y="403265"/>
                    <a:pt x="233732" y="409498"/>
                  </a:cubicBezTo>
                  <a:lnTo>
                    <a:pt x="228745" y="418224"/>
                  </a:lnTo>
                  <a:lnTo>
                    <a:pt x="226252" y="421963"/>
                  </a:lnTo>
                  <a:lnTo>
                    <a:pt x="227499" y="425703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cubicBezTo>
                    <a:pt x="216280" y="426950"/>
                    <a:pt x="223759" y="426950"/>
                    <a:pt x="221266" y="426950"/>
                  </a:cubicBezTo>
                  <a:cubicBezTo>
                    <a:pt x="196335" y="379580"/>
                    <a:pt x="171403" y="334704"/>
                    <a:pt x="147718" y="292320"/>
                  </a:cubicBezTo>
                  <a:lnTo>
                    <a:pt x="148965" y="293567"/>
                  </a:lnTo>
                  <a:cubicBezTo>
                    <a:pt x="100349" y="267389"/>
                    <a:pt x="55472" y="242458"/>
                    <a:pt x="14335" y="220019"/>
                  </a:cubicBezTo>
                  <a:lnTo>
                    <a:pt x="9349" y="217526"/>
                  </a:lnTo>
                  <a:lnTo>
                    <a:pt x="14335" y="215033"/>
                  </a:lnTo>
                  <a:cubicBezTo>
                    <a:pt x="65445" y="187609"/>
                    <a:pt x="111568" y="162677"/>
                    <a:pt x="148965" y="141485"/>
                  </a:cubicBezTo>
                  <a:lnTo>
                    <a:pt x="147718" y="142732"/>
                  </a:lnTo>
                  <a:cubicBezTo>
                    <a:pt x="171403" y="100349"/>
                    <a:pt x="190102" y="67938"/>
                    <a:pt x="203814" y="44253"/>
                  </a:cubicBezTo>
                  <a:cubicBezTo>
                    <a:pt x="210047" y="33034"/>
                    <a:pt x="215033" y="24308"/>
                    <a:pt x="218773" y="18075"/>
                  </a:cubicBezTo>
                  <a:cubicBezTo>
                    <a:pt x="221266" y="11842"/>
                    <a:pt x="222513" y="9349"/>
                    <a:pt x="222513" y="9349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67AC6F27-91C6-4D57-8132-FAE1FEE119D0}"/>
                </a:ext>
              </a:extLst>
            </p:cNvPr>
            <p:cNvSpPr/>
            <p:nvPr/>
          </p:nvSpPr>
          <p:spPr>
            <a:xfrm>
              <a:off x="9565276" y="2480676"/>
              <a:ext cx="186985" cy="186985"/>
            </a:xfrm>
            <a:custGeom>
              <a:avLst/>
              <a:gdLst>
                <a:gd name="connsiteX0" fmla="*/ 92869 w 186985"/>
                <a:gd name="connsiteY0" fmla="*/ 9349 h 186985"/>
                <a:gd name="connsiteX1" fmla="*/ 122787 w 186985"/>
                <a:gd name="connsiteY1" fmla="*/ 64198 h 186985"/>
                <a:gd name="connsiteX2" fmla="*/ 177636 w 186985"/>
                <a:gd name="connsiteY2" fmla="*/ 94116 h 186985"/>
                <a:gd name="connsiteX3" fmla="*/ 122787 w 186985"/>
                <a:gd name="connsiteY3" fmla="*/ 124034 h 186985"/>
                <a:gd name="connsiteX4" fmla="*/ 92869 w 186985"/>
                <a:gd name="connsiteY4" fmla="*/ 178882 h 186985"/>
                <a:gd name="connsiteX5" fmla="*/ 62952 w 186985"/>
                <a:gd name="connsiteY5" fmla="*/ 124034 h 186985"/>
                <a:gd name="connsiteX6" fmla="*/ 9349 w 186985"/>
                <a:gd name="connsiteY6" fmla="*/ 94116 h 186985"/>
                <a:gd name="connsiteX7" fmla="*/ 62952 w 186985"/>
                <a:gd name="connsiteY7" fmla="*/ 64198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985" h="186985">
                  <a:moveTo>
                    <a:pt x="92869" y="9349"/>
                  </a:moveTo>
                  <a:lnTo>
                    <a:pt x="122787" y="64198"/>
                  </a:lnTo>
                  <a:lnTo>
                    <a:pt x="177636" y="94116"/>
                  </a:lnTo>
                  <a:lnTo>
                    <a:pt x="122787" y="124034"/>
                  </a:lnTo>
                  <a:lnTo>
                    <a:pt x="92869" y="178882"/>
                  </a:lnTo>
                  <a:lnTo>
                    <a:pt x="62952" y="124034"/>
                  </a:lnTo>
                  <a:lnTo>
                    <a:pt x="9349" y="94116"/>
                  </a:lnTo>
                  <a:lnTo>
                    <a:pt x="62952" y="64198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78C828F2-FFBA-4E7B-A9F9-ABA25D764393}"/>
                </a:ext>
              </a:extLst>
            </p:cNvPr>
            <p:cNvSpPr/>
            <p:nvPr/>
          </p:nvSpPr>
          <p:spPr>
            <a:xfrm>
              <a:off x="7959696" y="2610319"/>
              <a:ext cx="99725" cy="87260"/>
            </a:xfrm>
            <a:custGeom>
              <a:avLst/>
              <a:gdLst>
                <a:gd name="connsiteX0" fmla="*/ 49240 w 99725"/>
                <a:gd name="connsiteY0" fmla="*/ 9349 h 87259"/>
                <a:gd name="connsiteX1" fmla="*/ 64198 w 99725"/>
                <a:gd name="connsiteY1" fmla="*/ 34281 h 87259"/>
                <a:gd name="connsiteX2" fmla="*/ 90376 w 99725"/>
                <a:gd name="connsiteY2" fmla="*/ 49239 h 87259"/>
                <a:gd name="connsiteX3" fmla="*/ 64198 w 99725"/>
                <a:gd name="connsiteY3" fmla="*/ 62952 h 87259"/>
                <a:gd name="connsiteX4" fmla="*/ 49240 w 99725"/>
                <a:gd name="connsiteY4" fmla="*/ 89130 h 87259"/>
                <a:gd name="connsiteX5" fmla="*/ 35527 w 99725"/>
                <a:gd name="connsiteY5" fmla="*/ 62952 h 87259"/>
                <a:gd name="connsiteX6" fmla="*/ 9349 w 99725"/>
                <a:gd name="connsiteY6" fmla="*/ 49239 h 87259"/>
                <a:gd name="connsiteX7" fmla="*/ 35527 w 99725"/>
                <a:gd name="connsiteY7" fmla="*/ 34281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40" y="9349"/>
                  </a:moveTo>
                  <a:lnTo>
                    <a:pt x="64198" y="34281"/>
                  </a:lnTo>
                  <a:lnTo>
                    <a:pt x="90376" y="49239"/>
                  </a:lnTo>
                  <a:lnTo>
                    <a:pt x="64198" y="62952"/>
                  </a:lnTo>
                  <a:lnTo>
                    <a:pt x="49240" y="89130"/>
                  </a:lnTo>
                  <a:lnTo>
                    <a:pt x="35527" y="62952"/>
                  </a:lnTo>
                  <a:lnTo>
                    <a:pt x="9349" y="49239"/>
                  </a:lnTo>
                  <a:lnTo>
                    <a:pt x="35527" y="34281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215B2475-322A-4357-B655-641E03C85AEB}"/>
                </a:ext>
              </a:extLst>
            </p:cNvPr>
            <p:cNvSpPr/>
            <p:nvPr/>
          </p:nvSpPr>
          <p:spPr>
            <a:xfrm>
              <a:off x="10732064" y="811521"/>
              <a:ext cx="99725" cy="87260"/>
            </a:xfrm>
            <a:custGeom>
              <a:avLst/>
              <a:gdLst>
                <a:gd name="connsiteX0" fmla="*/ 49239 w 99725"/>
                <a:gd name="connsiteY0" fmla="*/ 9349 h 87259"/>
                <a:gd name="connsiteX1" fmla="*/ 64198 w 99725"/>
                <a:gd name="connsiteY1" fmla="*/ 35527 h 87259"/>
                <a:gd name="connsiteX2" fmla="*/ 90376 w 99725"/>
                <a:gd name="connsiteY2" fmla="*/ 49239 h 87259"/>
                <a:gd name="connsiteX3" fmla="*/ 64198 w 99725"/>
                <a:gd name="connsiteY3" fmla="*/ 64198 h 87259"/>
                <a:gd name="connsiteX4" fmla="*/ 49239 w 99725"/>
                <a:gd name="connsiteY4" fmla="*/ 90376 h 87259"/>
                <a:gd name="connsiteX5" fmla="*/ 35527 w 99725"/>
                <a:gd name="connsiteY5" fmla="*/ 64198 h 87259"/>
                <a:gd name="connsiteX6" fmla="*/ 9349 w 99725"/>
                <a:gd name="connsiteY6" fmla="*/ 49239 h 87259"/>
                <a:gd name="connsiteX7" fmla="*/ 35527 w 99725"/>
                <a:gd name="connsiteY7" fmla="*/ 35527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39" y="9349"/>
                  </a:moveTo>
                  <a:lnTo>
                    <a:pt x="64198" y="35527"/>
                  </a:lnTo>
                  <a:lnTo>
                    <a:pt x="90376" y="49239"/>
                  </a:lnTo>
                  <a:lnTo>
                    <a:pt x="64198" y="64198"/>
                  </a:lnTo>
                  <a:lnTo>
                    <a:pt x="49239" y="90376"/>
                  </a:lnTo>
                  <a:lnTo>
                    <a:pt x="35527" y="64198"/>
                  </a:lnTo>
                  <a:lnTo>
                    <a:pt x="9349" y="49239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218F0C7C-0853-40B1-8132-DE7E54304E38}"/>
                </a:ext>
              </a:extLst>
            </p:cNvPr>
            <p:cNvSpPr/>
            <p:nvPr/>
          </p:nvSpPr>
          <p:spPr>
            <a:xfrm>
              <a:off x="7567027" y="1350038"/>
              <a:ext cx="99725" cy="99725"/>
            </a:xfrm>
            <a:custGeom>
              <a:avLst/>
              <a:gdLst>
                <a:gd name="connsiteX0" fmla="*/ 50486 w 99725"/>
                <a:gd name="connsiteY0" fmla="*/ 9349 h 99725"/>
                <a:gd name="connsiteX1" fmla="*/ 64198 w 99725"/>
                <a:gd name="connsiteY1" fmla="*/ 35527 h 99725"/>
                <a:gd name="connsiteX2" fmla="*/ 90376 w 99725"/>
                <a:gd name="connsiteY2" fmla="*/ 50486 h 99725"/>
                <a:gd name="connsiteX3" fmla="*/ 64198 w 99725"/>
                <a:gd name="connsiteY3" fmla="*/ 64198 h 99725"/>
                <a:gd name="connsiteX4" fmla="*/ 50486 w 99725"/>
                <a:gd name="connsiteY4" fmla="*/ 90376 h 99725"/>
                <a:gd name="connsiteX5" fmla="*/ 35527 w 99725"/>
                <a:gd name="connsiteY5" fmla="*/ 64198 h 99725"/>
                <a:gd name="connsiteX6" fmla="*/ 9349 w 99725"/>
                <a:gd name="connsiteY6" fmla="*/ 50486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50486" y="9349"/>
                  </a:moveTo>
                  <a:lnTo>
                    <a:pt x="64198" y="35527"/>
                  </a:lnTo>
                  <a:lnTo>
                    <a:pt x="90376" y="50486"/>
                  </a:lnTo>
                  <a:lnTo>
                    <a:pt x="64198" y="64198"/>
                  </a:lnTo>
                  <a:lnTo>
                    <a:pt x="50486" y="90376"/>
                  </a:lnTo>
                  <a:lnTo>
                    <a:pt x="35527" y="64198"/>
                  </a:lnTo>
                  <a:lnTo>
                    <a:pt x="9349" y="50486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E58F7696-5EA4-4814-AC86-8EE947DC718F}"/>
                </a:ext>
              </a:extLst>
            </p:cNvPr>
            <p:cNvSpPr/>
            <p:nvPr/>
          </p:nvSpPr>
          <p:spPr>
            <a:xfrm>
              <a:off x="7054687" y="3876832"/>
              <a:ext cx="174520" cy="174520"/>
            </a:xfrm>
            <a:custGeom>
              <a:avLst/>
              <a:gdLst>
                <a:gd name="connsiteX0" fmla="*/ 91623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0376 h 174519"/>
                <a:gd name="connsiteX3" fmla="*/ 120294 w 174519"/>
                <a:gd name="connsiteY3" fmla="*/ 120294 h 174519"/>
                <a:gd name="connsiteX4" fmla="*/ 91623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0376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3" y="9349"/>
                  </a:moveTo>
                  <a:lnTo>
                    <a:pt x="120294" y="61705"/>
                  </a:lnTo>
                  <a:lnTo>
                    <a:pt x="173896" y="90376"/>
                  </a:lnTo>
                  <a:lnTo>
                    <a:pt x="120294" y="120294"/>
                  </a:lnTo>
                  <a:lnTo>
                    <a:pt x="91623" y="172650"/>
                  </a:lnTo>
                  <a:lnTo>
                    <a:pt x="62952" y="120294"/>
                  </a:lnTo>
                  <a:lnTo>
                    <a:pt x="9349" y="90376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36B5EE87-7CF5-45F8-B15A-EE7437B16FEF}"/>
                </a:ext>
              </a:extLst>
            </p:cNvPr>
            <p:cNvSpPr/>
            <p:nvPr/>
          </p:nvSpPr>
          <p:spPr>
            <a:xfrm>
              <a:off x="7776450" y="4053845"/>
              <a:ext cx="99725" cy="99725"/>
            </a:xfrm>
            <a:custGeom>
              <a:avLst/>
              <a:gdLst>
                <a:gd name="connsiteX0" fmla="*/ 49240 w 99725"/>
                <a:gd name="connsiteY0" fmla="*/ 9349 h 99725"/>
                <a:gd name="connsiteX1" fmla="*/ 64199 w 99725"/>
                <a:gd name="connsiteY1" fmla="*/ 35527 h 99725"/>
                <a:gd name="connsiteX2" fmla="*/ 90376 w 99725"/>
                <a:gd name="connsiteY2" fmla="*/ 49240 h 99725"/>
                <a:gd name="connsiteX3" fmla="*/ 64199 w 99725"/>
                <a:gd name="connsiteY3" fmla="*/ 64199 h 99725"/>
                <a:gd name="connsiteX4" fmla="*/ 49240 w 99725"/>
                <a:gd name="connsiteY4" fmla="*/ 90376 h 99725"/>
                <a:gd name="connsiteX5" fmla="*/ 35527 w 99725"/>
                <a:gd name="connsiteY5" fmla="*/ 64199 h 99725"/>
                <a:gd name="connsiteX6" fmla="*/ 9349 w 99725"/>
                <a:gd name="connsiteY6" fmla="*/ 49240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49240" y="9349"/>
                  </a:moveTo>
                  <a:lnTo>
                    <a:pt x="64199" y="35527"/>
                  </a:lnTo>
                  <a:lnTo>
                    <a:pt x="90376" y="49240"/>
                  </a:lnTo>
                  <a:lnTo>
                    <a:pt x="64199" y="64199"/>
                  </a:lnTo>
                  <a:lnTo>
                    <a:pt x="49240" y="90376"/>
                  </a:lnTo>
                  <a:lnTo>
                    <a:pt x="35527" y="64199"/>
                  </a:lnTo>
                  <a:lnTo>
                    <a:pt x="9349" y="49240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60325F6D-6179-4325-ABB8-3759E7C3682A}"/>
                </a:ext>
              </a:extLst>
            </p:cNvPr>
            <p:cNvSpPr/>
            <p:nvPr/>
          </p:nvSpPr>
          <p:spPr>
            <a:xfrm>
              <a:off x="9181991" y="1594365"/>
              <a:ext cx="486162" cy="486162"/>
            </a:xfrm>
            <a:custGeom>
              <a:avLst/>
              <a:gdLst>
                <a:gd name="connsiteX0" fmla="*/ 479894 w 486161"/>
                <a:gd name="connsiteY0" fmla="*/ 479305 h 486161"/>
                <a:gd name="connsiteX1" fmla="*/ 479894 w 486161"/>
                <a:gd name="connsiteY1" fmla="*/ 476812 h 486161"/>
                <a:gd name="connsiteX2" fmla="*/ 479894 w 486161"/>
                <a:gd name="connsiteY2" fmla="*/ 470580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5 h 486161"/>
                <a:gd name="connsiteX27" fmla="*/ 477401 w 486161"/>
                <a:gd name="connsiteY27" fmla="*/ 479305 h 486161"/>
                <a:gd name="connsiteX28" fmla="*/ 471168 w 486161"/>
                <a:gd name="connsiteY28" fmla="*/ 479305 h 486161"/>
                <a:gd name="connsiteX29" fmla="*/ 446237 w 486161"/>
                <a:gd name="connsiteY29" fmla="*/ 479305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5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7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80 h 486161"/>
                <a:gd name="connsiteX53" fmla="*/ 481141 w 486161"/>
                <a:gd name="connsiteY53" fmla="*/ 476812 h 486161"/>
                <a:gd name="connsiteX54" fmla="*/ 479894 w 486161"/>
                <a:gd name="connsiteY54" fmla="*/ 479305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5"/>
                  </a:moveTo>
                  <a:cubicBezTo>
                    <a:pt x="479894" y="479305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80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6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9" y="15582"/>
                    <a:pt x="183211" y="15582"/>
                    <a:pt x="12431" y="15582"/>
                  </a:cubicBezTo>
                  <a:cubicBezTo>
                    <a:pt x="11185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8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4" y="478059"/>
                    <a:pt x="477401" y="478059"/>
                  </a:cubicBezTo>
                  <a:cubicBezTo>
                    <a:pt x="479894" y="479305"/>
                    <a:pt x="479894" y="479305"/>
                    <a:pt x="479894" y="479305"/>
                  </a:cubicBezTo>
                  <a:cubicBezTo>
                    <a:pt x="479894" y="479305"/>
                    <a:pt x="478648" y="479305"/>
                    <a:pt x="477401" y="479305"/>
                  </a:cubicBezTo>
                  <a:cubicBezTo>
                    <a:pt x="476154" y="479305"/>
                    <a:pt x="473661" y="479305"/>
                    <a:pt x="471168" y="479305"/>
                  </a:cubicBezTo>
                  <a:cubicBezTo>
                    <a:pt x="464935" y="479305"/>
                    <a:pt x="457456" y="479305"/>
                    <a:pt x="446237" y="479305"/>
                  </a:cubicBezTo>
                  <a:cubicBezTo>
                    <a:pt x="423798" y="479305"/>
                    <a:pt x="392634" y="479305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5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1458"/>
                    <a:pt x="482387" y="268636"/>
                    <a:pt x="482387" y="350909"/>
                  </a:cubicBezTo>
                  <a:cubicBezTo>
                    <a:pt x="482387" y="390799"/>
                    <a:pt x="482387" y="423210"/>
                    <a:pt x="481141" y="445648"/>
                  </a:cubicBezTo>
                  <a:cubicBezTo>
                    <a:pt x="481141" y="455621"/>
                    <a:pt x="481141" y="464347"/>
                    <a:pt x="481141" y="470580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81141" y="479305"/>
                    <a:pt x="481141" y="479305"/>
                    <a:pt x="479894" y="479305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A5CB71E2-75CA-47A7-AF13-4E12578A844D}"/>
                </a:ext>
              </a:extLst>
            </p:cNvPr>
            <p:cNvSpPr/>
            <p:nvPr/>
          </p:nvSpPr>
          <p:spPr>
            <a:xfrm>
              <a:off x="7772122" y="1710296"/>
              <a:ext cx="249314" cy="249314"/>
            </a:xfrm>
            <a:custGeom>
              <a:avLst/>
              <a:gdLst>
                <a:gd name="connsiteX0" fmla="*/ 240553 w 249313"/>
                <a:gd name="connsiteY0" fmla="*/ 238718 h 249313"/>
                <a:gd name="connsiteX1" fmla="*/ 240553 w 249313"/>
                <a:gd name="connsiteY1" fmla="*/ 233732 h 249313"/>
                <a:gd name="connsiteX2" fmla="*/ 240553 w 249313"/>
                <a:gd name="connsiteY2" fmla="*/ 221266 h 249313"/>
                <a:gd name="connsiteX3" fmla="*/ 239306 w 249313"/>
                <a:gd name="connsiteY3" fmla="*/ 175143 h 249313"/>
                <a:gd name="connsiteX4" fmla="*/ 238060 w 249313"/>
                <a:gd name="connsiteY4" fmla="*/ 11842 h 249313"/>
                <a:gd name="connsiteX5" fmla="*/ 240553 w 249313"/>
                <a:gd name="connsiteY5" fmla="*/ 14335 h 249313"/>
                <a:gd name="connsiteX6" fmla="*/ 13678 w 249313"/>
                <a:gd name="connsiteY6" fmla="*/ 14335 h 249313"/>
                <a:gd name="connsiteX7" fmla="*/ 17417 w 249313"/>
                <a:gd name="connsiteY7" fmla="*/ 10596 h 249313"/>
                <a:gd name="connsiteX8" fmla="*/ 17417 w 249313"/>
                <a:gd name="connsiteY8" fmla="*/ 10596 h 249313"/>
                <a:gd name="connsiteX9" fmla="*/ 17417 w 249313"/>
                <a:gd name="connsiteY9" fmla="*/ 10596 h 249313"/>
                <a:gd name="connsiteX10" fmla="*/ 17417 w 249313"/>
                <a:gd name="connsiteY10" fmla="*/ 10596 h 249313"/>
                <a:gd name="connsiteX11" fmla="*/ 17417 w 249313"/>
                <a:gd name="connsiteY11" fmla="*/ 10596 h 249313"/>
                <a:gd name="connsiteX12" fmla="*/ 17417 w 249313"/>
                <a:gd name="connsiteY12" fmla="*/ 11842 h 249313"/>
                <a:gd name="connsiteX13" fmla="*/ 17417 w 249313"/>
                <a:gd name="connsiteY13" fmla="*/ 14335 h 249313"/>
                <a:gd name="connsiteX14" fmla="*/ 17417 w 249313"/>
                <a:gd name="connsiteY14" fmla="*/ 18075 h 249313"/>
                <a:gd name="connsiteX15" fmla="*/ 17417 w 249313"/>
                <a:gd name="connsiteY15" fmla="*/ 25555 h 249313"/>
                <a:gd name="connsiteX16" fmla="*/ 17417 w 249313"/>
                <a:gd name="connsiteY16" fmla="*/ 40513 h 249313"/>
                <a:gd name="connsiteX17" fmla="*/ 17417 w 249313"/>
                <a:gd name="connsiteY17" fmla="*/ 70431 h 249313"/>
                <a:gd name="connsiteX18" fmla="*/ 17417 w 249313"/>
                <a:gd name="connsiteY18" fmla="*/ 129020 h 249313"/>
                <a:gd name="connsiteX19" fmla="*/ 17417 w 249313"/>
                <a:gd name="connsiteY19" fmla="*/ 236225 h 249313"/>
                <a:gd name="connsiteX20" fmla="*/ 14924 w 249313"/>
                <a:gd name="connsiteY20" fmla="*/ 233732 h 249313"/>
                <a:gd name="connsiteX21" fmla="*/ 178225 w 249313"/>
                <a:gd name="connsiteY21" fmla="*/ 234978 h 249313"/>
                <a:gd name="connsiteX22" fmla="*/ 224348 w 249313"/>
                <a:gd name="connsiteY22" fmla="*/ 236225 h 249313"/>
                <a:gd name="connsiteX23" fmla="*/ 236814 w 249313"/>
                <a:gd name="connsiteY23" fmla="*/ 236225 h 249313"/>
                <a:gd name="connsiteX24" fmla="*/ 240553 w 249313"/>
                <a:gd name="connsiteY24" fmla="*/ 238718 h 249313"/>
                <a:gd name="connsiteX25" fmla="*/ 236814 w 249313"/>
                <a:gd name="connsiteY25" fmla="*/ 238718 h 249313"/>
                <a:gd name="connsiteX26" fmla="*/ 224348 w 249313"/>
                <a:gd name="connsiteY26" fmla="*/ 238718 h 249313"/>
                <a:gd name="connsiteX27" fmla="*/ 178225 w 249313"/>
                <a:gd name="connsiteY27" fmla="*/ 239964 h 249313"/>
                <a:gd name="connsiteX28" fmla="*/ 12431 w 249313"/>
                <a:gd name="connsiteY28" fmla="*/ 241211 h 249313"/>
                <a:gd name="connsiteX29" fmla="*/ 9938 w 249313"/>
                <a:gd name="connsiteY29" fmla="*/ 241211 h 249313"/>
                <a:gd name="connsiteX30" fmla="*/ 9938 w 249313"/>
                <a:gd name="connsiteY30" fmla="*/ 238718 h 249313"/>
                <a:gd name="connsiteX31" fmla="*/ 9938 w 249313"/>
                <a:gd name="connsiteY31" fmla="*/ 131513 h 249313"/>
                <a:gd name="connsiteX32" fmla="*/ 9938 w 249313"/>
                <a:gd name="connsiteY32" fmla="*/ 72924 h 249313"/>
                <a:gd name="connsiteX33" fmla="*/ 9938 w 249313"/>
                <a:gd name="connsiteY33" fmla="*/ 43007 h 249313"/>
                <a:gd name="connsiteX34" fmla="*/ 9938 w 249313"/>
                <a:gd name="connsiteY34" fmla="*/ 28048 h 249313"/>
                <a:gd name="connsiteX35" fmla="*/ 9938 w 249313"/>
                <a:gd name="connsiteY35" fmla="*/ 20568 h 249313"/>
                <a:gd name="connsiteX36" fmla="*/ 9938 w 249313"/>
                <a:gd name="connsiteY36" fmla="*/ 16829 h 249313"/>
                <a:gd name="connsiteX37" fmla="*/ 9938 w 249313"/>
                <a:gd name="connsiteY37" fmla="*/ 14335 h 249313"/>
                <a:gd name="connsiteX38" fmla="*/ 9938 w 249313"/>
                <a:gd name="connsiteY38" fmla="*/ 13089 h 249313"/>
                <a:gd name="connsiteX39" fmla="*/ 9938 w 249313"/>
                <a:gd name="connsiteY39" fmla="*/ 13089 h 249313"/>
                <a:gd name="connsiteX40" fmla="*/ 9938 w 249313"/>
                <a:gd name="connsiteY40" fmla="*/ 13089 h 249313"/>
                <a:gd name="connsiteX41" fmla="*/ 9938 w 249313"/>
                <a:gd name="connsiteY41" fmla="*/ 13089 h 249313"/>
                <a:gd name="connsiteX42" fmla="*/ 9938 w 249313"/>
                <a:gd name="connsiteY42" fmla="*/ 13089 h 249313"/>
                <a:gd name="connsiteX43" fmla="*/ 13678 w 249313"/>
                <a:gd name="connsiteY43" fmla="*/ 9349 h 249313"/>
                <a:gd name="connsiteX44" fmla="*/ 240553 w 249313"/>
                <a:gd name="connsiteY44" fmla="*/ 9349 h 249313"/>
                <a:gd name="connsiteX45" fmla="*/ 243046 w 249313"/>
                <a:gd name="connsiteY45" fmla="*/ 9349 h 249313"/>
                <a:gd name="connsiteX46" fmla="*/ 243046 w 249313"/>
                <a:gd name="connsiteY46" fmla="*/ 11842 h 249313"/>
                <a:gd name="connsiteX47" fmla="*/ 241800 w 249313"/>
                <a:gd name="connsiteY47" fmla="*/ 177636 h 249313"/>
                <a:gd name="connsiteX48" fmla="*/ 240553 w 249313"/>
                <a:gd name="connsiteY48" fmla="*/ 223759 h 249313"/>
                <a:gd name="connsiteX49" fmla="*/ 240553 w 249313"/>
                <a:gd name="connsiteY49" fmla="*/ 236225 h 249313"/>
                <a:gd name="connsiteX50" fmla="*/ 240553 w 249313"/>
                <a:gd name="connsiteY50" fmla="*/ 238718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49313" h="249313">
                  <a:moveTo>
                    <a:pt x="240553" y="238718"/>
                  </a:moveTo>
                  <a:cubicBezTo>
                    <a:pt x="240553" y="238718"/>
                    <a:pt x="240553" y="237471"/>
                    <a:pt x="240553" y="233732"/>
                  </a:cubicBezTo>
                  <a:cubicBezTo>
                    <a:pt x="240553" y="229992"/>
                    <a:pt x="240553" y="226252"/>
                    <a:pt x="240553" y="221266"/>
                  </a:cubicBezTo>
                  <a:cubicBezTo>
                    <a:pt x="240553" y="210047"/>
                    <a:pt x="240553" y="193841"/>
                    <a:pt x="239306" y="175143"/>
                  </a:cubicBezTo>
                  <a:cubicBezTo>
                    <a:pt x="239306" y="135253"/>
                    <a:pt x="238060" y="79157"/>
                    <a:pt x="238060" y="11842"/>
                  </a:cubicBezTo>
                  <a:lnTo>
                    <a:pt x="240553" y="14335"/>
                  </a:lnTo>
                  <a:cubicBezTo>
                    <a:pt x="174485" y="14335"/>
                    <a:pt x="97198" y="14335"/>
                    <a:pt x="13678" y="14335"/>
                  </a:cubicBezTo>
                  <a:cubicBezTo>
                    <a:pt x="12431" y="15582"/>
                    <a:pt x="19910" y="8103"/>
                    <a:pt x="17417" y="10596"/>
                  </a:cubicBez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1842"/>
                  </a:lnTo>
                  <a:lnTo>
                    <a:pt x="17417" y="14335"/>
                  </a:lnTo>
                  <a:lnTo>
                    <a:pt x="17417" y="18075"/>
                  </a:lnTo>
                  <a:lnTo>
                    <a:pt x="17417" y="25555"/>
                  </a:lnTo>
                  <a:cubicBezTo>
                    <a:pt x="17417" y="30541"/>
                    <a:pt x="17417" y="35527"/>
                    <a:pt x="17417" y="40513"/>
                  </a:cubicBezTo>
                  <a:cubicBezTo>
                    <a:pt x="17417" y="50486"/>
                    <a:pt x="17417" y="60458"/>
                    <a:pt x="17417" y="70431"/>
                  </a:cubicBezTo>
                  <a:cubicBezTo>
                    <a:pt x="17417" y="90376"/>
                    <a:pt x="17417" y="110321"/>
                    <a:pt x="17417" y="129020"/>
                  </a:cubicBezTo>
                  <a:cubicBezTo>
                    <a:pt x="17417" y="167663"/>
                    <a:pt x="17417" y="202567"/>
                    <a:pt x="17417" y="236225"/>
                  </a:cubicBezTo>
                  <a:lnTo>
                    <a:pt x="14924" y="233732"/>
                  </a:lnTo>
                  <a:cubicBezTo>
                    <a:pt x="82239" y="233732"/>
                    <a:pt x="138334" y="234978"/>
                    <a:pt x="178225" y="234978"/>
                  </a:cubicBezTo>
                  <a:cubicBezTo>
                    <a:pt x="198170" y="234978"/>
                    <a:pt x="213128" y="234978"/>
                    <a:pt x="224348" y="236225"/>
                  </a:cubicBezTo>
                  <a:cubicBezTo>
                    <a:pt x="229334" y="236225"/>
                    <a:pt x="233074" y="236225"/>
                    <a:pt x="236814" y="236225"/>
                  </a:cubicBezTo>
                  <a:cubicBezTo>
                    <a:pt x="238060" y="238718"/>
                    <a:pt x="240553" y="238718"/>
                    <a:pt x="240553" y="238718"/>
                  </a:cubicBezTo>
                  <a:cubicBezTo>
                    <a:pt x="240553" y="238718"/>
                    <a:pt x="239306" y="238718"/>
                    <a:pt x="236814" y="238718"/>
                  </a:cubicBezTo>
                  <a:cubicBezTo>
                    <a:pt x="233074" y="238718"/>
                    <a:pt x="229334" y="238718"/>
                    <a:pt x="224348" y="238718"/>
                  </a:cubicBezTo>
                  <a:cubicBezTo>
                    <a:pt x="213128" y="238718"/>
                    <a:pt x="198170" y="238718"/>
                    <a:pt x="178225" y="239964"/>
                  </a:cubicBezTo>
                  <a:cubicBezTo>
                    <a:pt x="137088" y="239964"/>
                    <a:pt x="80993" y="241211"/>
                    <a:pt x="12431" y="241211"/>
                  </a:cubicBezTo>
                  <a:lnTo>
                    <a:pt x="9938" y="241211"/>
                  </a:lnTo>
                  <a:lnTo>
                    <a:pt x="9938" y="238718"/>
                  </a:lnTo>
                  <a:cubicBezTo>
                    <a:pt x="9938" y="206307"/>
                    <a:pt x="9938" y="170156"/>
                    <a:pt x="9938" y="131513"/>
                  </a:cubicBezTo>
                  <a:cubicBezTo>
                    <a:pt x="9938" y="112814"/>
                    <a:pt x="9938" y="92869"/>
                    <a:pt x="9938" y="72924"/>
                  </a:cubicBezTo>
                  <a:cubicBezTo>
                    <a:pt x="9938" y="62952"/>
                    <a:pt x="9938" y="52979"/>
                    <a:pt x="9938" y="43007"/>
                  </a:cubicBezTo>
                  <a:cubicBezTo>
                    <a:pt x="9938" y="38020"/>
                    <a:pt x="9938" y="33034"/>
                    <a:pt x="9938" y="28048"/>
                  </a:cubicBezTo>
                  <a:lnTo>
                    <a:pt x="9938" y="20568"/>
                  </a:lnTo>
                  <a:lnTo>
                    <a:pt x="9938" y="16829"/>
                  </a:lnTo>
                  <a:lnTo>
                    <a:pt x="9938" y="14335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97198" y="9349"/>
                    <a:pt x="174485" y="9349"/>
                    <a:pt x="240553" y="9349"/>
                  </a:cubicBezTo>
                  <a:lnTo>
                    <a:pt x="243046" y="9349"/>
                  </a:lnTo>
                  <a:lnTo>
                    <a:pt x="243046" y="11842"/>
                  </a:lnTo>
                  <a:cubicBezTo>
                    <a:pt x="243046" y="79157"/>
                    <a:pt x="241800" y="136499"/>
                    <a:pt x="241800" y="177636"/>
                  </a:cubicBezTo>
                  <a:cubicBezTo>
                    <a:pt x="241800" y="196335"/>
                    <a:pt x="241800" y="212540"/>
                    <a:pt x="240553" y="223759"/>
                  </a:cubicBezTo>
                  <a:cubicBezTo>
                    <a:pt x="240553" y="228745"/>
                    <a:pt x="240553" y="232485"/>
                    <a:pt x="240553" y="236225"/>
                  </a:cubicBezTo>
                  <a:cubicBezTo>
                    <a:pt x="240553" y="237471"/>
                    <a:pt x="240553" y="238718"/>
                    <a:pt x="240553" y="238718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C2DF108A-5649-4A1C-91D8-7B1440FCCF55}"/>
                </a:ext>
              </a:extLst>
            </p:cNvPr>
            <p:cNvSpPr/>
            <p:nvPr/>
          </p:nvSpPr>
          <p:spPr>
            <a:xfrm>
              <a:off x="6759908" y="655700"/>
              <a:ext cx="486162" cy="486162"/>
            </a:xfrm>
            <a:custGeom>
              <a:avLst/>
              <a:gdLst>
                <a:gd name="connsiteX0" fmla="*/ 479894 w 486161"/>
                <a:gd name="connsiteY0" fmla="*/ 479306 h 486161"/>
                <a:gd name="connsiteX1" fmla="*/ 479894 w 486161"/>
                <a:gd name="connsiteY1" fmla="*/ 476812 h 486161"/>
                <a:gd name="connsiteX2" fmla="*/ 479894 w 486161"/>
                <a:gd name="connsiteY2" fmla="*/ 470579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6 h 486161"/>
                <a:gd name="connsiteX27" fmla="*/ 477401 w 486161"/>
                <a:gd name="connsiteY27" fmla="*/ 479306 h 486161"/>
                <a:gd name="connsiteX28" fmla="*/ 471168 w 486161"/>
                <a:gd name="connsiteY28" fmla="*/ 479306 h 486161"/>
                <a:gd name="connsiteX29" fmla="*/ 446237 w 486161"/>
                <a:gd name="connsiteY29" fmla="*/ 479306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6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8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79 h 486161"/>
                <a:gd name="connsiteX53" fmla="*/ 481141 w 486161"/>
                <a:gd name="connsiteY53" fmla="*/ 476812 h 486161"/>
                <a:gd name="connsiteX54" fmla="*/ 479894 w 486161"/>
                <a:gd name="connsiteY54" fmla="*/ 479306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6"/>
                  </a:moveTo>
                  <a:cubicBezTo>
                    <a:pt x="479894" y="479306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79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5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8" y="15582"/>
                    <a:pt x="183211" y="15582"/>
                    <a:pt x="12431" y="15582"/>
                  </a:cubicBezTo>
                  <a:cubicBezTo>
                    <a:pt x="11184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9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5" y="478059"/>
                    <a:pt x="477401" y="478059"/>
                  </a:cubicBezTo>
                  <a:cubicBezTo>
                    <a:pt x="478648" y="479306"/>
                    <a:pt x="479894" y="479306"/>
                    <a:pt x="479894" y="479306"/>
                  </a:cubicBezTo>
                  <a:cubicBezTo>
                    <a:pt x="479894" y="479306"/>
                    <a:pt x="478648" y="479306"/>
                    <a:pt x="477401" y="479306"/>
                  </a:cubicBezTo>
                  <a:cubicBezTo>
                    <a:pt x="476155" y="479306"/>
                    <a:pt x="473661" y="479306"/>
                    <a:pt x="471168" y="479306"/>
                  </a:cubicBezTo>
                  <a:cubicBezTo>
                    <a:pt x="464935" y="479306"/>
                    <a:pt x="457456" y="479306"/>
                    <a:pt x="446237" y="479306"/>
                  </a:cubicBezTo>
                  <a:cubicBezTo>
                    <a:pt x="423799" y="479306"/>
                    <a:pt x="392634" y="479306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6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2705"/>
                    <a:pt x="482388" y="268635"/>
                    <a:pt x="482388" y="350909"/>
                  </a:cubicBezTo>
                  <a:cubicBezTo>
                    <a:pt x="482388" y="390799"/>
                    <a:pt x="482388" y="423210"/>
                    <a:pt x="481141" y="445648"/>
                  </a:cubicBezTo>
                  <a:cubicBezTo>
                    <a:pt x="481141" y="455621"/>
                    <a:pt x="481141" y="464347"/>
                    <a:pt x="481141" y="470579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79894" y="479306"/>
                    <a:pt x="479894" y="479306"/>
                    <a:pt x="479894" y="479306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C34162BE-D1B2-405E-8A24-FA2D9D43DD48}"/>
                </a:ext>
              </a:extLst>
            </p:cNvPr>
            <p:cNvSpPr/>
            <p:nvPr/>
          </p:nvSpPr>
          <p:spPr>
            <a:xfrm>
              <a:off x="6092994" y="2263260"/>
              <a:ext cx="199451" cy="199451"/>
            </a:xfrm>
            <a:custGeom>
              <a:avLst/>
              <a:gdLst>
                <a:gd name="connsiteX0" fmla="*/ 186951 w 199450"/>
                <a:gd name="connsiteY0" fmla="*/ 186874 h 199450"/>
                <a:gd name="connsiteX1" fmla="*/ 185704 w 199450"/>
                <a:gd name="connsiteY1" fmla="*/ 173162 h 199450"/>
                <a:gd name="connsiteX2" fmla="*/ 184457 w 199450"/>
                <a:gd name="connsiteY2" fmla="*/ 137012 h 199450"/>
                <a:gd name="connsiteX3" fmla="*/ 183211 w 199450"/>
                <a:gd name="connsiteY3" fmla="*/ 11108 h 199450"/>
                <a:gd name="connsiteX4" fmla="*/ 185704 w 199450"/>
                <a:gd name="connsiteY4" fmla="*/ 13601 h 199450"/>
                <a:gd name="connsiteX5" fmla="*/ 11184 w 199450"/>
                <a:gd name="connsiteY5" fmla="*/ 13601 h 199450"/>
                <a:gd name="connsiteX6" fmla="*/ 14924 w 199450"/>
                <a:gd name="connsiteY6" fmla="*/ 9862 h 199450"/>
                <a:gd name="connsiteX7" fmla="*/ 14924 w 199450"/>
                <a:gd name="connsiteY7" fmla="*/ 9862 h 199450"/>
                <a:gd name="connsiteX8" fmla="*/ 14924 w 199450"/>
                <a:gd name="connsiteY8" fmla="*/ 9862 h 199450"/>
                <a:gd name="connsiteX9" fmla="*/ 14924 w 199450"/>
                <a:gd name="connsiteY9" fmla="*/ 9862 h 199450"/>
                <a:gd name="connsiteX10" fmla="*/ 14924 w 199450"/>
                <a:gd name="connsiteY10" fmla="*/ 9862 h 199450"/>
                <a:gd name="connsiteX11" fmla="*/ 14924 w 199450"/>
                <a:gd name="connsiteY11" fmla="*/ 11108 h 199450"/>
                <a:gd name="connsiteX12" fmla="*/ 14924 w 199450"/>
                <a:gd name="connsiteY12" fmla="*/ 12355 h 199450"/>
                <a:gd name="connsiteX13" fmla="*/ 14924 w 199450"/>
                <a:gd name="connsiteY13" fmla="*/ 14848 h 199450"/>
                <a:gd name="connsiteX14" fmla="*/ 14924 w 199450"/>
                <a:gd name="connsiteY14" fmla="*/ 21081 h 199450"/>
                <a:gd name="connsiteX15" fmla="*/ 14924 w 199450"/>
                <a:gd name="connsiteY15" fmla="*/ 33547 h 199450"/>
                <a:gd name="connsiteX16" fmla="*/ 14924 w 199450"/>
                <a:gd name="connsiteY16" fmla="*/ 57231 h 199450"/>
                <a:gd name="connsiteX17" fmla="*/ 14924 w 199450"/>
                <a:gd name="connsiteY17" fmla="*/ 102108 h 199450"/>
                <a:gd name="connsiteX18" fmla="*/ 14924 w 199450"/>
                <a:gd name="connsiteY18" fmla="*/ 184381 h 199450"/>
                <a:gd name="connsiteX19" fmla="*/ 12431 w 199450"/>
                <a:gd name="connsiteY19" fmla="*/ 181888 h 199450"/>
                <a:gd name="connsiteX20" fmla="*/ 138334 w 199450"/>
                <a:gd name="connsiteY20" fmla="*/ 183135 h 199450"/>
                <a:gd name="connsiteX21" fmla="*/ 174485 w 199450"/>
                <a:gd name="connsiteY21" fmla="*/ 184381 h 199450"/>
                <a:gd name="connsiteX22" fmla="*/ 186951 w 199450"/>
                <a:gd name="connsiteY22" fmla="*/ 186874 h 199450"/>
                <a:gd name="connsiteX23" fmla="*/ 174485 w 199450"/>
                <a:gd name="connsiteY23" fmla="*/ 188121 h 199450"/>
                <a:gd name="connsiteX24" fmla="*/ 139581 w 199450"/>
                <a:gd name="connsiteY24" fmla="*/ 189368 h 199450"/>
                <a:gd name="connsiteX25" fmla="*/ 12431 w 199450"/>
                <a:gd name="connsiteY25" fmla="*/ 190614 h 199450"/>
                <a:gd name="connsiteX26" fmla="*/ 9938 w 199450"/>
                <a:gd name="connsiteY26" fmla="*/ 190614 h 199450"/>
                <a:gd name="connsiteX27" fmla="*/ 9938 w 199450"/>
                <a:gd name="connsiteY27" fmla="*/ 188121 h 199450"/>
                <a:gd name="connsiteX28" fmla="*/ 9938 w 199450"/>
                <a:gd name="connsiteY28" fmla="*/ 105847 h 199450"/>
                <a:gd name="connsiteX29" fmla="*/ 9938 w 199450"/>
                <a:gd name="connsiteY29" fmla="*/ 60971 h 199450"/>
                <a:gd name="connsiteX30" fmla="*/ 9938 w 199450"/>
                <a:gd name="connsiteY30" fmla="*/ 37286 h 199450"/>
                <a:gd name="connsiteX31" fmla="*/ 9938 w 199450"/>
                <a:gd name="connsiteY31" fmla="*/ 24821 h 199450"/>
                <a:gd name="connsiteX32" fmla="*/ 9938 w 199450"/>
                <a:gd name="connsiteY32" fmla="*/ 18588 h 199450"/>
                <a:gd name="connsiteX33" fmla="*/ 9938 w 199450"/>
                <a:gd name="connsiteY33" fmla="*/ 16095 h 199450"/>
                <a:gd name="connsiteX34" fmla="*/ 9938 w 199450"/>
                <a:gd name="connsiteY34" fmla="*/ 14848 h 199450"/>
                <a:gd name="connsiteX35" fmla="*/ 9938 w 199450"/>
                <a:gd name="connsiteY35" fmla="*/ 13601 h 199450"/>
                <a:gd name="connsiteX36" fmla="*/ 9938 w 199450"/>
                <a:gd name="connsiteY36" fmla="*/ 13601 h 199450"/>
                <a:gd name="connsiteX37" fmla="*/ 9938 w 199450"/>
                <a:gd name="connsiteY37" fmla="*/ 13601 h 199450"/>
                <a:gd name="connsiteX38" fmla="*/ 9938 w 199450"/>
                <a:gd name="connsiteY38" fmla="*/ 13601 h 199450"/>
                <a:gd name="connsiteX39" fmla="*/ 9938 w 199450"/>
                <a:gd name="connsiteY39" fmla="*/ 13601 h 199450"/>
                <a:gd name="connsiteX40" fmla="*/ 13678 w 199450"/>
                <a:gd name="connsiteY40" fmla="*/ 9862 h 199450"/>
                <a:gd name="connsiteX41" fmla="*/ 188197 w 199450"/>
                <a:gd name="connsiteY41" fmla="*/ 9862 h 199450"/>
                <a:gd name="connsiteX42" fmla="*/ 190690 w 199450"/>
                <a:gd name="connsiteY42" fmla="*/ 9862 h 199450"/>
                <a:gd name="connsiteX43" fmla="*/ 190690 w 199450"/>
                <a:gd name="connsiteY43" fmla="*/ 12355 h 199450"/>
                <a:gd name="connsiteX44" fmla="*/ 189444 w 199450"/>
                <a:gd name="connsiteY44" fmla="*/ 139505 h 199450"/>
                <a:gd name="connsiteX45" fmla="*/ 188197 w 199450"/>
                <a:gd name="connsiteY45" fmla="*/ 174409 h 199450"/>
                <a:gd name="connsiteX46" fmla="*/ 186951 w 199450"/>
                <a:gd name="connsiteY46" fmla="*/ 1868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9450" h="199450">
                  <a:moveTo>
                    <a:pt x="186951" y="186874"/>
                  </a:moveTo>
                  <a:cubicBezTo>
                    <a:pt x="186951" y="186874"/>
                    <a:pt x="186951" y="181888"/>
                    <a:pt x="185704" y="173162"/>
                  </a:cubicBezTo>
                  <a:cubicBezTo>
                    <a:pt x="185704" y="164436"/>
                    <a:pt x="185704" y="151971"/>
                    <a:pt x="184457" y="137012"/>
                  </a:cubicBezTo>
                  <a:cubicBezTo>
                    <a:pt x="184457" y="105847"/>
                    <a:pt x="183211" y="62218"/>
                    <a:pt x="183211" y="11108"/>
                  </a:cubicBezTo>
                  <a:lnTo>
                    <a:pt x="185704" y="13601"/>
                  </a:lnTo>
                  <a:cubicBezTo>
                    <a:pt x="134595" y="13601"/>
                    <a:pt x="74759" y="13601"/>
                    <a:pt x="11184" y="13601"/>
                  </a:cubicBezTo>
                  <a:cubicBezTo>
                    <a:pt x="9938" y="14848"/>
                    <a:pt x="17417" y="7369"/>
                    <a:pt x="14924" y="9862"/>
                  </a:cubicBez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11108"/>
                  </a:lnTo>
                  <a:lnTo>
                    <a:pt x="14924" y="12355"/>
                  </a:lnTo>
                  <a:lnTo>
                    <a:pt x="14924" y="14848"/>
                  </a:lnTo>
                  <a:lnTo>
                    <a:pt x="14924" y="21081"/>
                  </a:lnTo>
                  <a:lnTo>
                    <a:pt x="14924" y="33547"/>
                  </a:lnTo>
                  <a:cubicBezTo>
                    <a:pt x="14924" y="41026"/>
                    <a:pt x="14924" y="49752"/>
                    <a:pt x="14924" y="57231"/>
                  </a:cubicBezTo>
                  <a:cubicBezTo>
                    <a:pt x="14924" y="72190"/>
                    <a:pt x="14924" y="87149"/>
                    <a:pt x="14924" y="102108"/>
                  </a:cubicBezTo>
                  <a:cubicBezTo>
                    <a:pt x="14924" y="132025"/>
                    <a:pt x="14924" y="159450"/>
                    <a:pt x="14924" y="184381"/>
                  </a:cubicBezTo>
                  <a:lnTo>
                    <a:pt x="12431" y="181888"/>
                  </a:lnTo>
                  <a:cubicBezTo>
                    <a:pt x="63540" y="181888"/>
                    <a:pt x="107170" y="183135"/>
                    <a:pt x="138334" y="183135"/>
                  </a:cubicBezTo>
                  <a:cubicBezTo>
                    <a:pt x="153293" y="183135"/>
                    <a:pt x="164512" y="183135"/>
                    <a:pt x="174485" y="184381"/>
                  </a:cubicBezTo>
                  <a:cubicBezTo>
                    <a:pt x="181964" y="186874"/>
                    <a:pt x="186951" y="186874"/>
                    <a:pt x="186951" y="186874"/>
                  </a:cubicBezTo>
                  <a:cubicBezTo>
                    <a:pt x="186951" y="186874"/>
                    <a:pt x="183211" y="186874"/>
                    <a:pt x="174485" y="188121"/>
                  </a:cubicBezTo>
                  <a:cubicBezTo>
                    <a:pt x="165759" y="188121"/>
                    <a:pt x="153293" y="188121"/>
                    <a:pt x="139581" y="189368"/>
                  </a:cubicBezTo>
                  <a:cubicBezTo>
                    <a:pt x="108417" y="189368"/>
                    <a:pt x="63540" y="190614"/>
                    <a:pt x="12431" y="190614"/>
                  </a:cubicBezTo>
                  <a:lnTo>
                    <a:pt x="9938" y="190614"/>
                  </a:lnTo>
                  <a:lnTo>
                    <a:pt x="9938" y="188121"/>
                  </a:lnTo>
                  <a:cubicBezTo>
                    <a:pt x="9938" y="163190"/>
                    <a:pt x="9938" y="134519"/>
                    <a:pt x="9938" y="105847"/>
                  </a:cubicBezTo>
                  <a:cubicBezTo>
                    <a:pt x="9938" y="90889"/>
                    <a:pt x="9938" y="75930"/>
                    <a:pt x="9938" y="60971"/>
                  </a:cubicBezTo>
                  <a:cubicBezTo>
                    <a:pt x="9938" y="53492"/>
                    <a:pt x="9938" y="46012"/>
                    <a:pt x="9938" y="37286"/>
                  </a:cubicBezTo>
                  <a:lnTo>
                    <a:pt x="9938" y="24821"/>
                  </a:lnTo>
                  <a:lnTo>
                    <a:pt x="9938" y="18588"/>
                  </a:lnTo>
                  <a:lnTo>
                    <a:pt x="9938" y="16095"/>
                  </a:lnTo>
                  <a:lnTo>
                    <a:pt x="9938" y="14848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cubicBezTo>
                    <a:pt x="7445" y="16095"/>
                    <a:pt x="13678" y="9862"/>
                    <a:pt x="13678" y="9862"/>
                  </a:cubicBezTo>
                  <a:cubicBezTo>
                    <a:pt x="77253" y="9862"/>
                    <a:pt x="137088" y="9862"/>
                    <a:pt x="188197" y="9862"/>
                  </a:cubicBezTo>
                  <a:lnTo>
                    <a:pt x="190690" y="9862"/>
                  </a:lnTo>
                  <a:lnTo>
                    <a:pt x="190690" y="12355"/>
                  </a:lnTo>
                  <a:cubicBezTo>
                    <a:pt x="190690" y="64711"/>
                    <a:pt x="189444" y="108341"/>
                    <a:pt x="189444" y="139505"/>
                  </a:cubicBezTo>
                  <a:cubicBezTo>
                    <a:pt x="189444" y="154464"/>
                    <a:pt x="189444" y="165683"/>
                    <a:pt x="188197" y="174409"/>
                  </a:cubicBezTo>
                  <a:cubicBezTo>
                    <a:pt x="188197" y="183135"/>
                    <a:pt x="186951" y="186874"/>
                    <a:pt x="186951" y="186874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7824A587-A8D2-4FEB-ADBD-C2750878709B}"/>
                </a:ext>
              </a:extLst>
            </p:cNvPr>
            <p:cNvSpPr/>
            <p:nvPr/>
          </p:nvSpPr>
          <p:spPr>
            <a:xfrm>
              <a:off x="9319585" y="4000039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3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3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4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7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6204" y="868438"/>
                    <a:pt x="329834" y="823561"/>
                  </a:cubicBezTo>
                  <a:cubicBezTo>
                    <a:pt x="373464" y="778685"/>
                    <a:pt x="384684" y="705137"/>
                    <a:pt x="356013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3" y="496961"/>
                    <a:pt x="379697" y="474522"/>
                    <a:pt x="395902" y="448344"/>
                  </a:cubicBezTo>
                  <a:cubicBezTo>
                    <a:pt x="412108" y="420920"/>
                    <a:pt x="422081" y="387262"/>
                    <a:pt x="409615" y="358591"/>
                  </a:cubicBezTo>
                  <a:cubicBezTo>
                    <a:pt x="384684" y="302496"/>
                    <a:pt x="296177" y="300003"/>
                    <a:pt x="269999" y="243907"/>
                  </a:cubicBezTo>
                  <a:cubicBezTo>
                    <a:pt x="257533" y="217729"/>
                    <a:pt x="262520" y="186565"/>
                    <a:pt x="265013" y="157894"/>
                  </a:cubicBezTo>
                  <a:cubicBezTo>
                    <a:pt x="267506" y="122990"/>
                    <a:pt x="266260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3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4" y="595439"/>
                  </a:cubicBezTo>
                  <a:cubicBezTo>
                    <a:pt x="125398" y="612891"/>
                    <a:pt x="106699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20" y="677713"/>
                    <a:pt x="9466" y="700151"/>
                  </a:cubicBezTo>
                  <a:cubicBezTo>
                    <a:pt x="10713" y="722590"/>
                    <a:pt x="21932" y="742534"/>
                    <a:pt x="34397" y="759987"/>
                  </a:cubicBezTo>
                  <a:cubicBezTo>
                    <a:pt x="34397" y="758740"/>
                    <a:pt x="92986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17103B07-74A6-4553-991D-41CB9B2B2EE3}"/>
                </a:ext>
              </a:extLst>
            </p:cNvPr>
            <p:cNvSpPr/>
            <p:nvPr/>
          </p:nvSpPr>
          <p:spPr>
            <a:xfrm>
              <a:off x="9514167" y="4316871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2322CDE8-149B-4BE3-8D58-B0B8B3B7E3E2}"/>
                </a:ext>
              </a:extLst>
            </p:cNvPr>
            <p:cNvSpPr/>
            <p:nvPr/>
          </p:nvSpPr>
          <p:spPr>
            <a:xfrm>
              <a:off x="9510427" y="4402884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0" y="116554"/>
                    <a:pt x="67937" y="79157"/>
                    <a:pt x="96609" y="40513"/>
                  </a:cubicBezTo>
                  <a:cubicBezTo>
                    <a:pt x="105334" y="29294"/>
                    <a:pt x="112814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DBE7A6C1-ADF7-43FD-A045-D3D1EF7863A1}"/>
                </a:ext>
              </a:extLst>
            </p:cNvPr>
            <p:cNvSpPr/>
            <p:nvPr/>
          </p:nvSpPr>
          <p:spPr>
            <a:xfrm>
              <a:off x="9426907" y="4674636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29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B5B48C05-5DEA-4427-8A54-BB60BB85F2D8}"/>
                </a:ext>
              </a:extLst>
            </p:cNvPr>
            <p:cNvSpPr/>
            <p:nvPr/>
          </p:nvSpPr>
          <p:spPr>
            <a:xfrm>
              <a:off x="9434386" y="4303158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9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453200FA-B8AB-4D0F-8E3E-D02A4A83664B}"/>
                </a:ext>
              </a:extLst>
            </p:cNvPr>
            <p:cNvSpPr/>
            <p:nvPr/>
          </p:nvSpPr>
          <p:spPr>
            <a:xfrm>
              <a:off x="9000267" y="3724935"/>
              <a:ext cx="560956" cy="1171774"/>
            </a:xfrm>
            <a:custGeom>
              <a:avLst/>
              <a:gdLst>
                <a:gd name="connsiteX0" fmla="*/ 211607 w 560955"/>
                <a:gd name="connsiteY0" fmla="*/ 1157254 h 1171774"/>
                <a:gd name="connsiteX1" fmla="*/ 445961 w 560955"/>
                <a:gd name="connsiteY1" fmla="*/ 1116118 h 1171774"/>
                <a:gd name="connsiteX2" fmla="*/ 480865 w 560955"/>
                <a:gd name="connsiteY2" fmla="*/ 880516 h 1171774"/>
                <a:gd name="connsiteX3" fmla="*/ 432249 w 560955"/>
                <a:gd name="connsiteY3" fmla="*/ 768325 h 1171774"/>
                <a:gd name="connsiteX4" fmla="*/ 455934 w 560955"/>
                <a:gd name="connsiteY4" fmla="*/ 707243 h 1171774"/>
                <a:gd name="connsiteX5" fmla="*/ 534467 w 560955"/>
                <a:gd name="connsiteY5" fmla="*/ 605025 h 1171774"/>
                <a:gd name="connsiteX6" fmla="*/ 553166 w 560955"/>
                <a:gd name="connsiteY6" fmla="*/ 482861 h 1171774"/>
                <a:gd name="connsiteX7" fmla="*/ 362441 w 560955"/>
                <a:gd name="connsiteY7" fmla="*/ 327040 h 1171774"/>
                <a:gd name="connsiteX8" fmla="*/ 356208 w 560955"/>
                <a:gd name="connsiteY8" fmla="*/ 211109 h 1171774"/>
                <a:gd name="connsiteX9" fmla="*/ 335016 w 560955"/>
                <a:gd name="connsiteY9" fmla="*/ 72740 h 1171774"/>
                <a:gd name="connsiteX10" fmla="*/ 217839 w 560955"/>
                <a:gd name="connsiteY10" fmla="*/ 11658 h 1171774"/>
                <a:gd name="connsiteX11" fmla="*/ 114374 w 560955"/>
                <a:gd name="connsiteY11" fmla="*/ 137562 h 1171774"/>
                <a:gd name="connsiteX12" fmla="*/ 74484 w 560955"/>
                <a:gd name="connsiteY12" fmla="*/ 242273 h 1171774"/>
                <a:gd name="connsiteX13" fmla="*/ 24621 w 560955"/>
                <a:gd name="connsiteY13" fmla="*/ 545189 h 1171774"/>
                <a:gd name="connsiteX14" fmla="*/ 150524 w 560955"/>
                <a:gd name="connsiteY14" fmla="*/ 762092 h 1171774"/>
                <a:gd name="connsiteX15" fmla="*/ 167977 w 560955"/>
                <a:gd name="connsiteY15" fmla="*/ 805722 h 1171774"/>
                <a:gd name="connsiteX16" fmla="*/ 115621 w 560955"/>
                <a:gd name="connsiteY16" fmla="*/ 850598 h 1171774"/>
                <a:gd name="connsiteX17" fmla="*/ 44566 w 560955"/>
                <a:gd name="connsiteY17" fmla="*/ 869297 h 1171774"/>
                <a:gd name="connsiteX18" fmla="*/ 9662 w 560955"/>
                <a:gd name="connsiteY18" fmla="*/ 946584 h 1171774"/>
                <a:gd name="connsiteX19" fmla="*/ 43320 w 560955"/>
                <a:gd name="connsiteY19" fmla="*/ 1027611 h 1171774"/>
                <a:gd name="connsiteX20" fmla="*/ 211607 w 560955"/>
                <a:gd name="connsiteY20" fmla="*/ 1157254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0955" h="1171774">
                  <a:moveTo>
                    <a:pt x="211607" y="1157254"/>
                  </a:moveTo>
                  <a:cubicBezTo>
                    <a:pt x="291387" y="1184679"/>
                    <a:pt x="387372" y="1177199"/>
                    <a:pt x="445961" y="1116118"/>
                  </a:cubicBezTo>
                  <a:cubicBezTo>
                    <a:pt x="505796" y="1055036"/>
                    <a:pt x="519509" y="955310"/>
                    <a:pt x="480865" y="880516"/>
                  </a:cubicBezTo>
                  <a:cubicBezTo>
                    <a:pt x="462167" y="844366"/>
                    <a:pt x="431002" y="809462"/>
                    <a:pt x="432249" y="768325"/>
                  </a:cubicBezTo>
                  <a:cubicBezTo>
                    <a:pt x="433496" y="745887"/>
                    <a:pt x="443468" y="725942"/>
                    <a:pt x="455934" y="707243"/>
                  </a:cubicBezTo>
                  <a:cubicBezTo>
                    <a:pt x="479619" y="672339"/>
                    <a:pt x="512029" y="641175"/>
                    <a:pt x="534467" y="605025"/>
                  </a:cubicBezTo>
                  <a:cubicBezTo>
                    <a:pt x="556906" y="568874"/>
                    <a:pt x="569372" y="521504"/>
                    <a:pt x="553166" y="482861"/>
                  </a:cubicBezTo>
                  <a:cubicBezTo>
                    <a:pt x="519509" y="406820"/>
                    <a:pt x="398592" y="403080"/>
                    <a:pt x="362441" y="327040"/>
                  </a:cubicBezTo>
                  <a:cubicBezTo>
                    <a:pt x="344990" y="290889"/>
                    <a:pt x="352469" y="249753"/>
                    <a:pt x="356208" y="211109"/>
                  </a:cubicBezTo>
                  <a:cubicBezTo>
                    <a:pt x="359948" y="163739"/>
                    <a:pt x="358702" y="113876"/>
                    <a:pt x="335016" y="72740"/>
                  </a:cubicBezTo>
                  <a:cubicBezTo>
                    <a:pt x="312578" y="31603"/>
                    <a:pt x="263962" y="439"/>
                    <a:pt x="217839" y="11658"/>
                  </a:cubicBezTo>
                  <a:cubicBezTo>
                    <a:pt x="162990" y="24124"/>
                    <a:pt x="134319" y="83959"/>
                    <a:pt x="114374" y="137562"/>
                  </a:cubicBezTo>
                  <a:cubicBezTo>
                    <a:pt x="100662" y="172465"/>
                    <a:pt x="88196" y="207369"/>
                    <a:pt x="74484" y="242273"/>
                  </a:cubicBezTo>
                  <a:cubicBezTo>
                    <a:pt x="37087" y="339505"/>
                    <a:pt x="-310" y="444217"/>
                    <a:pt x="24621" y="545189"/>
                  </a:cubicBezTo>
                  <a:cubicBezTo>
                    <a:pt x="44566" y="626216"/>
                    <a:pt x="101908" y="693531"/>
                    <a:pt x="150524" y="762092"/>
                  </a:cubicBezTo>
                  <a:cubicBezTo>
                    <a:pt x="159251" y="774558"/>
                    <a:pt x="169223" y="789517"/>
                    <a:pt x="167977" y="805722"/>
                  </a:cubicBezTo>
                  <a:cubicBezTo>
                    <a:pt x="165483" y="830653"/>
                    <a:pt x="140552" y="845612"/>
                    <a:pt x="115621" y="850598"/>
                  </a:cubicBezTo>
                  <a:cubicBezTo>
                    <a:pt x="91936" y="855585"/>
                    <a:pt x="65758" y="855585"/>
                    <a:pt x="44566" y="869297"/>
                  </a:cubicBezTo>
                  <a:cubicBezTo>
                    <a:pt x="19635" y="885503"/>
                    <a:pt x="7169" y="916667"/>
                    <a:pt x="9662" y="946584"/>
                  </a:cubicBezTo>
                  <a:cubicBezTo>
                    <a:pt x="12156" y="976502"/>
                    <a:pt x="25868" y="1003927"/>
                    <a:pt x="43320" y="1027611"/>
                  </a:cubicBezTo>
                  <a:cubicBezTo>
                    <a:pt x="44566" y="1028858"/>
                    <a:pt x="123100" y="1126090"/>
                    <a:pt x="211607" y="1157254"/>
                  </a:cubicBez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17D4AAFB-DA62-47CB-B1EE-1A3A62BE9797}"/>
                </a:ext>
              </a:extLst>
            </p:cNvPr>
            <p:cNvSpPr/>
            <p:nvPr/>
          </p:nvSpPr>
          <p:spPr>
            <a:xfrm>
              <a:off x="9261113" y="4154817"/>
              <a:ext cx="24931" cy="735475"/>
            </a:xfrm>
            <a:custGeom>
              <a:avLst/>
              <a:gdLst>
                <a:gd name="connsiteX0" fmla="*/ 13089 w 24931"/>
                <a:gd name="connsiteY0" fmla="*/ 734852 h 735475"/>
                <a:gd name="connsiteX1" fmla="*/ 9349 w 24931"/>
                <a:gd name="connsiteY1" fmla="*/ 372101 h 735475"/>
                <a:gd name="connsiteX2" fmla="*/ 13089 w 24931"/>
                <a:gd name="connsiteY2" fmla="*/ 9349 h 735475"/>
                <a:gd name="connsiteX3" fmla="*/ 16829 w 24931"/>
                <a:gd name="connsiteY3" fmla="*/ 372101 h 735475"/>
                <a:gd name="connsiteX4" fmla="*/ 13089 w 24931"/>
                <a:gd name="connsiteY4" fmla="*/ 734852 h 73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735475">
                  <a:moveTo>
                    <a:pt x="13089" y="734852"/>
                  </a:moveTo>
                  <a:cubicBezTo>
                    <a:pt x="11843" y="734852"/>
                    <a:pt x="9349" y="572798"/>
                    <a:pt x="9349" y="372101"/>
                  </a:cubicBezTo>
                  <a:cubicBezTo>
                    <a:pt x="9349" y="171403"/>
                    <a:pt x="10596" y="9349"/>
                    <a:pt x="13089" y="9349"/>
                  </a:cubicBezTo>
                  <a:cubicBezTo>
                    <a:pt x="14335" y="9349"/>
                    <a:pt x="16829" y="171403"/>
                    <a:pt x="16829" y="372101"/>
                  </a:cubicBezTo>
                  <a:cubicBezTo>
                    <a:pt x="16829" y="572798"/>
                    <a:pt x="15582" y="734852"/>
                    <a:pt x="13089" y="73485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0A6FC9CA-2F32-4146-BFD4-144C15E11684}"/>
                </a:ext>
              </a:extLst>
            </p:cNvPr>
            <p:cNvSpPr/>
            <p:nvPr/>
          </p:nvSpPr>
          <p:spPr>
            <a:xfrm>
              <a:off x="9259748" y="4274370"/>
              <a:ext cx="174520" cy="211917"/>
            </a:xfrm>
            <a:custGeom>
              <a:avLst/>
              <a:gdLst>
                <a:gd name="connsiteX0" fmla="*/ 165289 w 174519"/>
                <a:gd name="connsiteY0" fmla="*/ 9466 h 211916"/>
                <a:gd name="connsiteX1" fmla="*/ 141604 w 174519"/>
                <a:gd name="connsiteY1" fmla="*/ 38137 h 211916"/>
                <a:gd name="connsiteX2" fmla="*/ 88001 w 174519"/>
                <a:gd name="connsiteY2" fmla="*/ 109192 h 211916"/>
                <a:gd name="connsiteX3" fmla="*/ 33153 w 174519"/>
                <a:gd name="connsiteY3" fmla="*/ 179000 h 211916"/>
                <a:gd name="connsiteX4" fmla="*/ 9468 w 174519"/>
                <a:gd name="connsiteY4" fmla="*/ 206424 h 211916"/>
                <a:gd name="connsiteX5" fmla="*/ 29413 w 174519"/>
                <a:gd name="connsiteY5" fmla="*/ 175260 h 211916"/>
                <a:gd name="connsiteX6" fmla="*/ 83015 w 174519"/>
                <a:gd name="connsiteY6" fmla="*/ 104206 h 211916"/>
                <a:gd name="connsiteX7" fmla="*/ 137864 w 174519"/>
                <a:gd name="connsiteY7" fmla="*/ 34398 h 211916"/>
                <a:gd name="connsiteX8" fmla="*/ 165289 w 174519"/>
                <a:gd name="connsiteY8" fmla="*/ 9466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519" h="211916">
                  <a:moveTo>
                    <a:pt x="165289" y="9466"/>
                  </a:moveTo>
                  <a:cubicBezTo>
                    <a:pt x="165289" y="10713"/>
                    <a:pt x="155316" y="19439"/>
                    <a:pt x="141604" y="38137"/>
                  </a:cubicBezTo>
                  <a:cubicBezTo>
                    <a:pt x="127892" y="56836"/>
                    <a:pt x="109193" y="81767"/>
                    <a:pt x="88001" y="109192"/>
                  </a:cubicBezTo>
                  <a:cubicBezTo>
                    <a:pt x="66810" y="136617"/>
                    <a:pt x="48111" y="161548"/>
                    <a:pt x="33153" y="179000"/>
                  </a:cubicBezTo>
                  <a:cubicBezTo>
                    <a:pt x="19440" y="196452"/>
                    <a:pt x="9468" y="207671"/>
                    <a:pt x="9468" y="206424"/>
                  </a:cubicBezTo>
                  <a:cubicBezTo>
                    <a:pt x="8221" y="206424"/>
                    <a:pt x="16947" y="193958"/>
                    <a:pt x="29413" y="175260"/>
                  </a:cubicBezTo>
                  <a:cubicBezTo>
                    <a:pt x="41878" y="156561"/>
                    <a:pt x="61824" y="131630"/>
                    <a:pt x="83015" y="104206"/>
                  </a:cubicBezTo>
                  <a:cubicBezTo>
                    <a:pt x="104207" y="76781"/>
                    <a:pt x="122906" y="51850"/>
                    <a:pt x="137864" y="34398"/>
                  </a:cubicBezTo>
                  <a:cubicBezTo>
                    <a:pt x="154070" y="16946"/>
                    <a:pt x="165289" y="8220"/>
                    <a:pt x="165289" y="94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1603511A-8828-4598-9944-9A41AEAA29AB}"/>
                </a:ext>
              </a:extLst>
            </p:cNvPr>
            <p:cNvSpPr/>
            <p:nvPr/>
          </p:nvSpPr>
          <p:spPr>
            <a:xfrm>
              <a:off x="9147636" y="4644582"/>
              <a:ext cx="124657" cy="149588"/>
            </a:xfrm>
            <a:custGeom>
              <a:avLst/>
              <a:gdLst>
                <a:gd name="connsiteX0" fmla="*/ 125320 w 124656"/>
                <a:gd name="connsiteY0" fmla="*/ 144114 h 149588"/>
                <a:gd name="connsiteX1" fmla="*/ 122826 w 124656"/>
                <a:gd name="connsiteY1" fmla="*/ 137882 h 149588"/>
                <a:gd name="connsiteX2" fmla="*/ 112854 w 124656"/>
                <a:gd name="connsiteY2" fmla="*/ 122923 h 149588"/>
                <a:gd name="connsiteX3" fmla="*/ 70471 w 124656"/>
                <a:gd name="connsiteY3" fmla="*/ 75553 h 149588"/>
                <a:gd name="connsiteX4" fmla="*/ 9388 w 124656"/>
                <a:gd name="connsiteY4" fmla="*/ 9485 h 149588"/>
                <a:gd name="connsiteX5" fmla="*/ 30580 w 124656"/>
                <a:gd name="connsiteY5" fmla="*/ 25690 h 149588"/>
                <a:gd name="connsiteX6" fmla="*/ 75457 w 124656"/>
                <a:gd name="connsiteY6" fmla="*/ 71814 h 149588"/>
                <a:gd name="connsiteX7" fmla="*/ 116593 w 124656"/>
                <a:gd name="connsiteY7" fmla="*/ 121676 h 149588"/>
                <a:gd name="connsiteX8" fmla="*/ 126566 w 124656"/>
                <a:gd name="connsiteY8" fmla="*/ 139128 h 149588"/>
                <a:gd name="connsiteX9" fmla="*/ 125320 w 124656"/>
                <a:gd name="connsiteY9" fmla="*/ 1441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56" h="149588">
                  <a:moveTo>
                    <a:pt x="125320" y="144114"/>
                  </a:moveTo>
                  <a:cubicBezTo>
                    <a:pt x="125320" y="144114"/>
                    <a:pt x="124073" y="141621"/>
                    <a:pt x="122826" y="137882"/>
                  </a:cubicBezTo>
                  <a:cubicBezTo>
                    <a:pt x="121580" y="134142"/>
                    <a:pt x="117840" y="129155"/>
                    <a:pt x="112854" y="122923"/>
                  </a:cubicBezTo>
                  <a:cubicBezTo>
                    <a:pt x="101635" y="110457"/>
                    <a:pt x="87922" y="93005"/>
                    <a:pt x="70471" y="75553"/>
                  </a:cubicBezTo>
                  <a:cubicBezTo>
                    <a:pt x="36813" y="38156"/>
                    <a:pt x="8142" y="10731"/>
                    <a:pt x="9388" y="9485"/>
                  </a:cubicBezTo>
                  <a:cubicBezTo>
                    <a:pt x="9388" y="8239"/>
                    <a:pt x="18115" y="15718"/>
                    <a:pt x="30580" y="25690"/>
                  </a:cubicBezTo>
                  <a:cubicBezTo>
                    <a:pt x="43046" y="36909"/>
                    <a:pt x="59251" y="53115"/>
                    <a:pt x="75457" y="71814"/>
                  </a:cubicBezTo>
                  <a:cubicBezTo>
                    <a:pt x="91662" y="90512"/>
                    <a:pt x="106621" y="107964"/>
                    <a:pt x="116593" y="121676"/>
                  </a:cubicBezTo>
                  <a:cubicBezTo>
                    <a:pt x="121580" y="127909"/>
                    <a:pt x="125320" y="134142"/>
                    <a:pt x="126566" y="139128"/>
                  </a:cubicBezTo>
                  <a:cubicBezTo>
                    <a:pt x="126566" y="141621"/>
                    <a:pt x="125320" y="144114"/>
                    <a:pt x="125320" y="14411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208B215B-5B5E-4A43-84C1-E21A15C55949}"/>
                </a:ext>
              </a:extLst>
            </p:cNvPr>
            <p:cNvSpPr/>
            <p:nvPr/>
          </p:nvSpPr>
          <p:spPr>
            <a:xfrm>
              <a:off x="9157648" y="4137365"/>
              <a:ext cx="112191" cy="186985"/>
            </a:xfrm>
            <a:custGeom>
              <a:avLst/>
              <a:gdLst>
                <a:gd name="connsiteX0" fmla="*/ 112814 w 112191"/>
                <a:gd name="connsiteY0" fmla="*/ 178883 h 186985"/>
                <a:gd name="connsiteX1" fmla="*/ 59212 w 112191"/>
                <a:gd name="connsiteY1" fmla="*/ 95362 h 186985"/>
                <a:gd name="connsiteX2" fmla="*/ 24308 w 112191"/>
                <a:gd name="connsiteY2" fmla="*/ 34281 h 186985"/>
                <a:gd name="connsiteX3" fmla="*/ 9349 w 112191"/>
                <a:gd name="connsiteY3" fmla="*/ 9349 h 186985"/>
                <a:gd name="connsiteX4" fmla="*/ 28048 w 112191"/>
                <a:gd name="connsiteY4" fmla="*/ 31787 h 186985"/>
                <a:gd name="connsiteX5" fmla="*/ 65445 w 112191"/>
                <a:gd name="connsiteY5" fmla="*/ 91623 h 186985"/>
                <a:gd name="connsiteX6" fmla="*/ 100349 w 112191"/>
                <a:gd name="connsiteY6" fmla="*/ 152705 h 186985"/>
                <a:gd name="connsiteX7" fmla="*/ 112814 w 112191"/>
                <a:gd name="connsiteY7" fmla="*/ 178883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191" h="186985">
                  <a:moveTo>
                    <a:pt x="112814" y="178883"/>
                  </a:moveTo>
                  <a:cubicBezTo>
                    <a:pt x="111568" y="180129"/>
                    <a:pt x="85390" y="142732"/>
                    <a:pt x="59212" y="95362"/>
                  </a:cubicBezTo>
                  <a:cubicBezTo>
                    <a:pt x="45500" y="71678"/>
                    <a:pt x="33034" y="50486"/>
                    <a:pt x="24308" y="34281"/>
                  </a:cubicBezTo>
                  <a:cubicBezTo>
                    <a:pt x="15582" y="19322"/>
                    <a:pt x="9349" y="9349"/>
                    <a:pt x="9349" y="9349"/>
                  </a:cubicBezTo>
                  <a:cubicBezTo>
                    <a:pt x="10596" y="9349"/>
                    <a:pt x="16829" y="16829"/>
                    <a:pt x="28048" y="31787"/>
                  </a:cubicBezTo>
                  <a:cubicBezTo>
                    <a:pt x="38020" y="46746"/>
                    <a:pt x="51733" y="67938"/>
                    <a:pt x="65445" y="91623"/>
                  </a:cubicBezTo>
                  <a:cubicBezTo>
                    <a:pt x="77911" y="114061"/>
                    <a:pt x="90376" y="135253"/>
                    <a:pt x="100349" y="152705"/>
                  </a:cubicBezTo>
                  <a:cubicBezTo>
                    <a:pt x="107828" y="168910"/>
                    <a:pt x="114061" y="178883"/>
                    <a:pt x="112814" y="1788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43ACC43D-07A8-4831-951D-6D09CAEDA50F}"/>
                </a:ext>
              </a:extLst>
            </p:cNvPr>
            <p:cNvSpPr/>
            <p:nvPr/>
          </p:nvSpPr>
          <p:spPr>
            <a:xfrm>
              <a:off x="6987256" y="4274284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2B46C4E6-A07C-4194-8229-6635F6F3A339}"/>
                </a:ext>
              </a:extLst>
            </p:cNvPr>
            <p:cNvSpPr/>
            <p:nvPr/>
          </p:nvSpPr>
          <p:spPr>
            <a:xfrm>
              <a:off x="7180591" y="4589869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178B97A6-D3A7-4325-BE67-8B360EDD564E}"/>
                </a:ext>
              </a:extLst>
            </p:cNvPr>
            <p:cNvSpPr/>
            <p:nvPr/>
          </p:nvSpPr>
          <p:spPr>
            <a:xfrm>
              <a:off x="7178097" y="4677129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1" y="116554"/>
                    <a:pt x="67938" y="79157"/>
                    <a:pt x="96609" y="40513"/>
                  </a:cubicBezTo>
                  <a:cubicBezTo>
                    <a:pt x="105335" y="29294"/>
                    <a:pt x="112815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1BA7EFC1-A37A-4022-A7FF-BDA399B5CC0E}"/>
                </a:ext>
              </a:extLst>
            </p:cNvPr>
            <p:cNvSpPr/>
            <p:nvPr/>
          </p:nvSpPr>
          <p:spPr>
            <a:xfrm>
              <a:off x="7094578" y="4948881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30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991C3EC8-5B75-42DC-8CB8-AC1B775ED055}"/>
                </a:ext>
              </a:extLst>
            </p:cNvPr>
            <p:cNvSpPr/>
            <p:nvPr/>
          </p:nvSpPr>
          <p:spPr>
            <a:xfrm>
              <a:off x="7102057" y="4577403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8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51108619-6974-42A4-9AC1-F1A18E73CC84}"/>
                </a:ext>
              </a:extLst>
            </p:cNvPr>
            <p:cNvSpPr/>
            <p:nvPr/>
          </p:nvSpPr>
          <p:spPr>
            <a:xfrm>
              <a:off x="7148361" y="4451924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B9AB9CFB-B4AF-4EAA-9798-E46DF49CD734}"/>
                </a:ext>
              </a:extLst>
            </p:cNvPr>
            <p:cNvSpPr/>
            <p:nvPr/>
          </p:nvSpPr>
          <p:spPr>
            <a:xfrm>
              <a:off x="7347631" y="4613554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6F0B16D9-EDD8-47D4-8268-93814863EB5B}"/>
                </a:ext>
              </a:extLst>
            </p:cNvPr>
            <p:cNvSpPr/>
            <p:nvPr/>
          </p:nvSpPr>
          <p:spPr>
            <a:xfrm>
              <a:off x="7350124" y="4809265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40064681-2F4E-47BE-80F3-68DDD33B66CC}"/>
                </a:ext>
              </a:extLst>
            </p:cNvPr>
            <p:cNvSpPr/>
            <p:nvPr/>
          </p:nvSpPr>
          <p:spPr>
            <a:xfrm>
              <a:off x="7355110" y="4933922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94731032-282F-4B0C-8AEB-228E2BB92328}"/>
                </a:ext>
              </a:extLst>
            </p:cNvPr>
            <p:cNvSpPr/>
            <p:nvPr/>
          </p:nvSpPr>
          <p:spPr>
            <a:xfrm>
              <a:off x="7224221" y="4801785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68408" y="4226394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168408" y="3930123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168409" y="1449353"/>
            <a:ext cx="4470400" cy="220703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1/25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hyperlink" Target="https://www.islide.cc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CB8476B3-5281-424D-B126-FD0414C2C3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8371" y="1366224"/>
            <a:ext cx="4921447" cy="1918289"/>
          </a:xfrm>
        </p:spPr>
        <p:txBody>
          <a:bodyPr/>
          <a:lstStyle/>
          <a:p>
            <a:r>
              <a:rPr lang="zh-CN" altLang="en-US" dirty="0" smtClean="0">
                <a:solidFill>
                  <a:schemeClr val="bg2"/>
                </a:solidFill>
              </a:rPr>
              <a:t>数据库管理系统</a:t>
            </a:r>
            <a:endParaRPr lang="zh-CN" altLang="en-US" dirty="0">
              <a:solidFill>
                <a:schemeClr val="bg2"/>
              </a:solidFill>
            </a:endParaRPr>
          </a:p>
        </p:txBody>
      </p:sp>
      <p:sp>
        <p:nvSpPr>
          <p:cNvPr id="9" name="副标题 8">
            <a:extLst>
              <a:ext uri="{FF2B5EF4-FFF2-40B4-BE49-F238E27FC236}">
                <a16:creationId xmlns:a16="http://schemas.microsoft.com/office/drawing/2014/main" id="{7E1B27E1-1B37-400F-9A86-38AEC17FE7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8371" y="3442916"/>
            <a:ext cx="4921446" cy="258922"/>
          </a:xfrm>
        </p:spPr>
        <p:txBody>
          <a:bodyPr>
            <a:normAutofit fontScale="70000" lnSpcReduction="20000"/>
          </a:bodyPr>
          <a:lstStyle/>
          <a:p>
            <a:r>
              <a:rPr lang="zh-CN" altLang="en-US" dirty="0">
                <a:solidFill>
                  <a:schemeClr val="bg2"/>
                </a:solidFill>
              </a:rPr>
              <a:t>一个简单的，以学习数据库底层操作为目的的</a:t>
            </a:r>
            <a:r>
              <a:rPr lang="en-US" altLang="zh-CN" dirty="0">
                <a:solidFill>
                  <a:schemeClr val="bg2"/>
                </a:solidFill>
              </a:rPr>
              <a:t>DBMS</a:t>
            </a:r>
            <a:r>
              <a:rPr lang="zh-CN" altLang="en-US" dirty="0">
                <a:solidFill>
                  <a:schemeClr val="bg2"/>
                </a:solidFill>
              </a:rPr>
              <a:t>实现</a:t>
            </a:r>
            <a:r>
              <a:rPr lang="zh-CN" altLang="en-US" dirty="0" smtClean="0">
                <a:solidFill>
                  <a:schemeClr val="bg2"/>
                </a:solidFill>
              </a:rPr>
              <a:t>。</a:t>
            </a:r>
            <a:endParaRPr lang="zh-CN" altLang="en-US" dirty="0">
              <a:solidFill>
                <a:schemeClr val="bg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758371" y="4283642"/>
            <a:ext cx="4921446" cy="258922"/>
          </a:xfrm>
        </p:spPr>
        <p:txBody>
          <a:bodyPr/>
          <a:lstStyle/>
          <a:p>
            <a:r>
              <a:rPr lang="zh-CN" altLang="en-US" dirty="0" smtClean="0"/>
              <a:t>龙灏天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758371" y="4584803"/>
            <a:ext cx="4921447" cy="296392"/>
          </a:xfrm>
        </p:spPr>
        <p:txBody>
          <a:bodyPr/>
          <a:lstStyle/>
          <a:p>
            <a:r>
              <a:rPr lang="zh-CN" altLang="en-US" dirty="0" smtClean="0"/>
              <a:t>北京交通大学 软件学院</a:t>
            </a:r>
            <a:endParaRPr lang="en-US" altLang="en-US" dirty="0"/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862B86BD-F7EB-4640-8D45-63B567920BC3}"/>
              </a:ext>
            </a:extLst>
          </p:cNvPr>
          <p:cNvCxnSpPr>
            <a:cxnSpLocks/>
          </p:cNvCxnSpPr>
          <p:nvPr/>
        </p:nvCxnSpPr>
        <p:spPr>
          <a:xfrm>
            <a:off x="830941" y="3123709"/>
            <a:ext cx="4684486" cy="0"/>
          </a:xfrm>
          <a:prstGeom prst="line">
            <a:avLst/>
          </a:prstGeom>
          <a:ln>
            <a:solidFill>
              <a:schemeClr val="bg1">
                <a:alpha val="5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A290E46E-72C7-4220-A0B6-90AC6F159590}"/>
              </a:ext>
            </a:extLst>
          </p:cNvPr>
          <p:cNvCxnSpPr>
            <a:cxnSpLocks/>
          </p:cNvCxnSpPr>
          <p:nvPr/>
        </p:nvCxnSpPr>
        <p:spPr>
          <a:xfrm>
            <a:off x="830941" y="3976698"/>
            <a:ext cx="4684486" cy="0"/>
          </a:xfrm>
          <a:prstGeom prst="line">
            <a:avLst/>
          </a:prstGeom>
          <a:ln>
            <a:solidFill>
              <a:schemeClr val="bg1">
                <a:alpha val="5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析</a:t>
            </a:r>
            <a:r>
              <a:rPr lang="zh-CN" altLang="en-US" dirty="0" smtClean="0"/>
              <a:t>器、执行器设计与正则表达式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4" y="1342173"/>
            <a:ext cx="43529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/>
              <a:t>正则表达式</a:t>
            </a:r>
            <a:r>
              <a:rPr lang="en-US" altLang="zh-CN" sz="1600" dirty="0"/>
              <a:t>(regular expression)</a:t>
            </a:r>
            <a:r>
              <a:rPr lang="zh-CN" altLang="en-US" sz="1600" dirty="0"/>
              <a:t>描述了一种字符串</a:t>
            </a:r>
            <a:r>
              <a:rPr lang="zh-CN" altLang="en-US" sz="1600" b="1" dirty="0"/>
              <a:t>匹配</a:t>
            </a:r>
            <a:r>
              <a:rPr lang="zh-CN" altLang="en-US" sz="1600" dirty="0"/>
              <a:t>的模式（</a:t>
            </a:r>
            <a:r>
              <a:rPr lang="en-US" altLang="zh-CN" sz="1600" dirty="0"/>
              <a:t>pattern</a:t>
            </a:r>
            <a:r>
              <a:rPr lang="zh-CN" altLang="en-US" sz="1600" dirty="0" smtClean="0"/>
              <a:t>）。</a:t>
            </a:r>
            <a:endParaRPr lang="en-US" altLang="zh-CN" sz="1600" dirty="0" smtClean="0"/>
          </a:p>
          <a:p>
            <a:r>
              <a:rPr lang="zh-CN" altLang="en-US" sz="1600" dirty="0" smtClean="0"/>
              <a:t>本系统的</a:t>
            </a:r>
            <a:r>
              <a:rPr lang="zh-CN" altLang="en-US" sz="1600" b="1" dirty="0" smtClean="0"/>
              <a:t>执行器</a:t>
            </a:r>
            <a:r>
              <a:rPr lang="zh-CN" altLang="en-US" sz="1600" dirty="0" smtClean="0"/>
              <a:t>和</a:t>
            </a:r>
            <a:r>
              <a:rPr lang="zh-CN" altLang="en-US" sz="1600" b="1" dirty="0" smtClean="0"/>
              <a:t>解析器</a:t>
            </a:r>
            <a:r>
              <a:rPr lang="zh-CN" altLang="en-US" sz="1600" dirty="0" smtClean="0"/>
              <a:t>使用了正则表达式来解决格式问题。</a:t>
            </a:r>
            <a:endParaRPr lang="en-US" altLang="zh-CN" sz="1600" dirty="0" smtClean="0"/>
          </a:p>
          <a:p>
            <a:r>
              <a:rPr lang="zh-CN" altLang="en-US" sz="1600" dirty="0" smtClean="0"/>
              <a:t>本系统的解析器和数据库内核部分是</a:t>
            </a:r>
            <a:r>
              <a:rPr lang="zh-CN" altLang="en-US" sz="1600" b="1" dirty="0" smtClean="0"/>
              <a:t>完全分离</a:t>
            </a:r>
            <a:r>
              <a:rPr lang="zh-CN" altLang="en-US" sz="1600" dirty="0" smtClean="0"/>
              <a:t>的。</a:t>
            </a:r>
            <a:endParaRPr lang="zh-CN" altLang="en-US" sz="1600" dirty="0"/>
          </a:p>
        </p:txBody>
      </p:sp>
      <p:grpSp>
        <p:nvGrpSpPr>
          <p:cNvPr id="7" name="2041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55650" y="1294548"/>
            <a:ext cx="10850563" cy="4927632"/>
            <a:chOff x="669925" y="1165209"/>
            <a:chExt cx="10850563" cy="4927632"/>
          </a:xfrm>
        </p:grpSpPr>
        <p:sp>
          <p:nvSpPr>
            <p:cNvPr id="8" name="îṡḷíḋè">
              <a:extLst>
                <a:ext uri="{FF2B5EF4-FFF2-40B4-BE49-F238E27FC236}">
                  <a16:creationId xmlns:a16="http://schemas.microsoft.com/office/drawing/2014/main" id="{D6A24625-F8D5-48C9-8BAE-260F0BDC44AC}"/>
                </a:ext>
              </a:extLst>
            </p:cNvPr>
            <p:cNvSpPr txBox="1"/>
            <p:nvPr/>
          </p:nvSpPr>
          <p:spPr bwMode="auto">
            <a:xfrm>
              <a:off x="7518400" y="1742222"/>
              <a:ext cx="400200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 smtClean="0"/>
                <a:t>解析器</a:t>
              </a:r>
              <a:endParaRPr lang="en-US" altLang="zh-CN" sz="2000" b="1" dirty="0"/>
            </a:p>
          </p:txBody>
        </p:sp>
        <p:sp>
          <p:nvSpPr>
            <p:cNvPr id="9" name="íšḷïḓè">
              <a:extLst>
                <a:ext uri="{FF2B5EF4-FFF2-40B4-BE49-F238E27FC236}">
                  <a16:creationId xmlns:a16="http://schemas.microsoft.com/office/drawing/2014/main" id="{A162249E-9DD7-4FAC-A336-2CD624B5B685}"/>
                </a:ext>
              </a:extLst>
            </p:cNvPr>
            <p:cNvSpPr/>
            <p:nvPr/>
          </p:nvSpPr>
          <p:spPr bwMode="auto">
            <a:xfrm>
              <a:off x="7519911" y="2184028"/>
              <a:ext cx="4000577" cy="754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100" dirty="0" smtClean="0"/>
                <a:t>解析</a:t>
              </a:r>
              <a:r>
                <a:rPr lang="en-US" altLang="zh-CN" sz="1100" dirty="0" smtClean="0"/>
                <a:t>SQL</a:t>
              </a:r>
              <a:r>
                <a:rPr lang="zh-CN" altLang="en-US" sz="1100" dirty="0" smtClean="0"/>
                <a:t>语句，将</a:t>
              </a:r>
              <a:r>
                <a:rPr lang="zh-CN" altLang="en-US" sz="1100" dirty="0" smtClean="0"/>
                <a:t>字符串翻译成一堆</a:t>
              </a:r>
              <a:r>
                <a:rPr lang="en-US" altLang="zh-CN" sz="1100" dirty="0" smtClean="0"/>
                <a:t>Token</a:t>
              </a:r>
              <a:r>
                <a:rPr lang="zh-CN" altLang="en-US" sz="1100" dirty="0" smtClean="0"/>
                <a:t>组成的、可以被枚举的列表</a:t>
              </a:r>
              <a:endParaRPr lang="en-US" altLang="zh-CN" sz="1100" dirty="0"/>
            </a:p>
          </p:txBody>
        </p:sp>
        <p:sp>
          <p:nvSpPr>
            <p:cNvPr id="10" name="ïṩḷïḍè">
              <a:extLst>
                <a:ext uri="{FF2B5EF4-FFF2-40B4-BE49-F238E27FC236}">
                  <a16:creationId xmlns:a16="http://schemas.microsoft.com/office/drawing/2014/main" id="{052BEB94-9F89-4860-B198-7E2A213E3330}"/>
                </a:ext>
              </a:extLst>
            </p:cNvPr>
            <p:cNvSpPr txBox="1"/>
            <p:nvPr/>
          </p:nvSpPr>
          <p:spPr bwMode="auto">
            <a:xfrm>
              <a:off x="7518400" y="4484538"/>
              <a:ext cx="400200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 smtClean="0"/>
                <a:t>数据库核心</a:t>
              </a:r>
              <a:endParaRPr lang="en-US" altLang="zh-CN" sz="2000" b="1" dirty="0"/>
            </a:p>
          </p:txBody>
        </p:sp>
        <p:sp>
          <p:nvSpPr>
            <p:cNvPr id="11" name="íS1îḑé">
              <a:extLst>
                <a:ext uri="{FF2B5EF4-FFF2-40B4-BE49-F238E27FC236}">
                  <a16:creationId xmlns:a16="http://schemas.microsoft.com/office/drawing/2014/main" id="{EDBA53A8-1E1E-4225-BD9C-1A80A40AEBB4}"/>
                </a:ext>
              </a:extLst>
            </p:cNvPr>
            <p:cNvSpPr/>
            <p:nvPr/>
          </p:nvSpPr>
          <p:spPr bwMode="auto">
            <a:xfrm>
              <a:off x="7519911" y="4926344"/>
              <a:ext cx="4000577" cy="754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100" dirty="0" smtClean="0"/>
                <a:t>管理所有的核心操作、实体操作和文件操作。</a:t>
              </a:r>
              <a:endParaRPr lang="en-US" altLang="zh-CN" sz="1100" dirty="0" smtClean="0"/>
            </a:p>
          </p:txBody>
        </p:sp>
        <p:grpSp>
          <p:nvGrpSpPr>
            <p:cNvPr id="12" name="îSlïdé">
              <a:extLst>
                <a:ext uri="{FF2B5EF4-FFF2-40B4-BE49-F238E27FC236}">
                  <a16:creationId xmlns:a16="http://schemas.microsoft.com/office/drawing/2014/main" id="{773E3CA7-B3B2-41AB-8C6F-C3DC5FED9CCA}"/>
                </a:ext>
              </a:extLst>
            </p:cNvPr>
            <p:cNvGrpSpPr/>
            <p:nvPr/>
          </p:nvGrpSpPr>
          <p:grpSpPr>
            <a:xfrm>
              <a:off x="669925" y="3146534"/>
              <a:ext cx="3924486" cy="1196466"/>
              <a:chOff x="7431450" y="1919492"/>
              <a:chExt cx="4092411" cy="1196466"/>
            </a:xfrm>
          </p:grpSpPr>
          <p:sp>
            <p:nvSpPr>
              <p:cNvPr id="20" name="îṩḻiḑê">
                <a:extLst>
                  <a:ext uri="{FF2B5EF4-FFF2-40B4-BE49-F238E27FC236}">
                    <a16:creationId xmlns:a16="http://schemas.microsoft.com/office/drawing/2014/main" id="{E7D41D40-34F5-4D44-A14F-06877FF3AE65}"/>
                  </a:ext>
                </a:extLst>
              </p:cNvPr>
              <p:cNvSpPr txBox="1"/>
              <p:nvPr/>
            </p:nvSpPr>
            <p:spPr bwMode="auto">
              <a:xfrm>
                <a:off x="7431450" y="1919492"/>
                <a:ext cx="4092330" cy="44180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 smtClean="0">
                    <a:solidFill>
                      <a:schemeClr val="bg1"/>
                    </a:solidFill>
                  </a:rPr>
                  <a:t>执行器</a:t>
                </a:r>
                <a:endParaRPr lang="en-US" altLang="zh-CN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ïṡľidê">
                <a:extLst>
                  <a:ext uri="{FF2B5EF4-FFF2-40B4-BE49-F238E27FC236}">
                    <a16:creationId xmlns:a16="http://schemas.microsoft.com/office/drawing/2014/main" id="{524E5560-2D79-42BE-BC6F-103523B7D060}"/>
                  </a:ext>
                </a:extLst>
              </p:cNvPr>
              <p:cNvSpPr/>
              <p:nvPr/>
            </p:nvSpPr>
            <p:spPr bwMode="auto">
              <a:xfrm>
                <a:off x="7432995" y="2361298"/>
                <a:ext cx="4090866" cy="754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100" dirty="0" smtClean="0"/>
                  <a:t>作为“适配器”设计模式中的适配器。将解析得到的列表分别作为方法执行</a:t>
                </a:r>
                <a:endParaRPr lang="en-US" altLang="zh-CN" sz="1100" dirty="0"/>
              </a:p>
            </p:txBody>
          </p:sp>
        </p:grp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899F1600-5923-4330-9161-F086D3F63F54}"/>
                </a:ext>
              </a:extLst>
            </p:cNvPr>
            <p:cNvCxnSpPr>
              <a:cxnSpLocks/>
            </p:cNvCxnSpPr>
            <p:nvPr/>
          </p:nvCxnSpPr>
          <p:spPr>
            <a:xfrm>
              <a:off x="7597588" y="3708412"/>
              <a:ext cx="3922821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î$ḷíḓè">
              <a:extLst>
                <a:ext uri="{FF2B5EF4-FFF2-40B4-BE49-F238E27FC236}">
                  <a16:creationId xmlns:a16="http://schemas.microsoft.com/office/drawing/2014/main" id="{00FD95A7-BB8F-4641-973B-EFFF5433EB48}"/>
                </a:ext>
              </a:extLst>
            </p:cNvPr>
            <p:cNvSpPr/>
            <p:nvPr/>
          </p:nvSpPr>
          <p:spPr>
            <a:xfrm>
              <a:off x="5247334" y="1165209"/>
              <a:ext cx="2350254" cy="2350493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5" name="îSḷiḍe">
              <a:extLst>
                <a:ext uri="{FF2B5EF4-FFF2-40B4-BE49-F238E27FC236}">
                  <a16:creationId xmlns:a16="http://schemas.microsoft.com/office/drawing/2014/main" id="{E4EFC2F5-6F7E-49F9-B173-343FFE16C3B8}"/>
                </a:ext>
              </a:extLst>
            </p:cNvPr>
            <p:cNvSpPr/>
            <p:nvPr/>
          </p:nvSpPr>
          <p:spPr>
            <a:xfrm>
              <a:off x="4594411" y="2569521"/>
              <a:ext cx="2350254" cy="2350493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6" name="î$1îďé">
              <a:extLst>
                <a:ext uri="{FF2B5EF4-FFF2-40B4-BE49-F238E27FC236}">
                  <a16:creationId xmlns:a16="http://schemas.microsoft.com/office/drawing/2014/main" id="{8404E946-36EC-4EE9-8809-0F99EECEAC9A}"/>
                </a:ext>
              </a:extLst>
            </p:cNvPr>
            <p:cNvSpPr/>
            <p:nvPr/>
          </p:nvSpPr>
          <p:spPr>
            <a:xfrm flipH="1">
              <a:off x="5343194" y="4072701"/>
              <a:ext cx="2019164" cy="2020140"/>
            </a:xfrm>
            <a:prstGeom prst="blockArc">
              <a:avLst>
                <a:gd name="adj1" fmla="val 0"/>
                <a:gd name="adj2" fmla="val 18900000"/>
                <a:gd name="adj3" fmla="val 1274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7" name="îsḷiḑé">
              <a:extLst>
                <a:ext uri="{FF2B5EF4-FFF2-40B4-BE49-F238E27FC236}">
                  <a16:creationId xmlns:a16="http://schemas.microsoft.com/office/drawing/2014/main" id="{FD160623-7613-4D20-BAB3-EB1CDDCAC7A5}"/>
                </a:ext>
              </a:extLst>
            </p:cNvPr>
            <p:cNvSpPr/>
            <p:nvPr/>
          </p:nvSpPr>
          <p:spPr bwMode="auto">
            <a:xfrm>
              <a:off x="6158375" y="2079286"/>
              <a:ext cx="528172" cy="522338"/>
            </a:xfrm>
            <a:custGeom>
              <a:avLst/>
              <a:gdLst>
                <a:gd name="connsiteX0" fmla="*/ 466437 w 600511"/>
                <a:gd name="connsiteY0" fmla="*/ 421770 h 593879"/>
                <a:gd name="connsiteX1" fmla="*/ 504684 w 600511"/>
                <a:gd name="connsiteY1" fmla="*/ 459981 h 593879"/>
                <a:gd name="connsiteX2" fmla="*/ 466437 w 600511"/>
                <a:gd name="connsiteY2" fmla="*/ 498192 h 593879"/>
                <a:gd name="connsiteX3" fmla="*/ 428190 w 600511"/>
                <a:gd name="connsiteY3" fmla="*/ 459981 h 593879"/>
                <a:gd name="connsiteX4" fmla="*/ 466437 w 600511"/>
                <a:gd name="connsiteY4" fmla="*/ 421770 h 593879"/>
                <a:gd name="connsiteX5" fmla="*/ 453390 w 600511"/>
                <a:gd name="connsiteY5" fmla="*/ 375066 h 593879"/>
                <a:gd name="connsiteX6" fmla="*/ 421127 w 600511"/>
                <a:gd name="connsiteY6" fmla="*/ 386990 h 593879"/>
                <a:gd name="connsiteX7" fmla="*/ 418868 w 600511"/>
                <a:gd name="connsiteY7" fmla="*/ 392146 h 593879"/>
                <a:gd name="connsiteX8" fmla="*/ 424031 w 600511"/>
                <a:gd name="connsiteY8" fmla="*/ 406325 h 593879"/>
                <a:gd name="connsiteX9" fmla="*/ 423385 w 600511"/>
                <a:gd name="connsiteY9" fmla="*/ 411481 h 593879"/>
                <a:gd name="connsiteX10" fmla="*/ 416287 w 600511"/>
                <a:gd name="connsiteY10" fmla="*/ 413737 h 593879"/>
                <a:gd name="connsiteX11" fmla="*/ 402414 w 600511"/>
                <a:gd name="connsiteY11" fmla="*/ 407292 h 593879"/>
                <a:gd name="connsiteX12" fmla="*/ 397252 w 600511"/>
                <a:gd name="connsiteY12" fmla="*/ 409226 h 593879"/>
                <a:gd name="connsiteX13" fmla="*/ 383056 w 600511"/>
                <a:gd name="connsiteY13" fmla="*/ 440485 h 593879"/>
                <a:gd name="connsiteX14" fmla="*/ 384669 w 600511"/>
                <a:gd name="connsiteY14" fmla="*/ 445318 h 593879"/>
                <a:gd name="connsiteX15" fmla="*/ 398542 w 600511"/>
                <a:gd name="connsiteY15" fmla="*/ 451764 h 593879"/>
                <a:gd name="connsiteX16" fmla="*/ 401769 w 600511"/>
                <a:gd name="connsiteY16" fmla="*/ 455953 h 593879"/>
                <a:gd name="connsiteX17" fmla="*/ 398220 w 600511"/>
                <a:gd name="connsiteY17" fmla="*/ 462720 h 593879"/>
                <a:gd name="connsiteX18" fmla="*/ 384024 w 600511"/>
                <a:gd name="connsiteY18" fmla="*/ 467876 h 593879"/>
                <a:gd name="connsiteX19" fmla="*/ 381766 w 600511"/>
                <a:gd name="connsiteY19" fmla="*/ 472710 h 593879"/>
                <a:gd name="connsiteX20" fmla="*/ 393380 w 600511"/>
                <a:gd name="connsiteY20" fmla="*/ 504936 h 593879"/>
                <a:gd name="connsiteX21" fmla="*/ 398542 w 600511"/>
                <a:gd name="connsiteY21" fmla="*/ 507192 h 593879"/>
                <a:gd name="connsiteX22" fmla="*/ 412738 w 600511"/>
                <a:gd name="connsiteY22" fmla="*/ 502036 h 593879"/>
                <a:gd name="connsiteX23" fmla="*/ 417900 w 600511"/>
                <a:gd name="connsiteY23" fmla="*/ 502680 h 593879"/>
                <a:gd name="connsiteX24" fmla="*/ 420159 w 600511"/>
                <a:gd name="connsiteY24" fmla="*/ 510092 h 593879"/>
                <a:gd name="connsiteX25" fmla="*/ 413706 w 600511"/>
                <a:gd name="connsiteY25" fmla="*/ 523949 h 593879"/>
                <a:gd name="connsiteX26" fmla="*/ 415642 w 600511"/>
                <a:gd name="connsiteY26" fmla="*/ 528783 h 593879"/>
                <a:gd name="connsiteX27" fmla="*/ 446937 w 600511"/>
                <a:gd name="connsiteY27" fmla="*/ 543285 h 593879"/>
                <a:gd name="connsiteX28" fmla="*/ 451777 w 600511"/>
                <a:gd name="connsiteY28" fmla="*/ 541351 h 593879"/>
                <a:gd name="connsiteX29" fmla="*/ 458230 w 600511"/>
                <a:gd name="connsiteY29" fmla="*/ 527494 h 593879"/>
                <a:gd name="connsiteX30" fmla="*/ 462424 w 600511"/>
                <a:gd name="connsiteY30" fmla="*/ 524272 h 593879"/>
                <a:gd name="connsiteX31" fmla="*/ 469199 w 600511"/>
                <a:gd name="connsiteY31" fmla="*/ 528139 h 593879"/>
                <a:gd name="connsiteX32" fmla="*/ 474361 w 600511"/>
                <a:gd name="connsiteY32" fmla="*/ 542318 h 593879"/>
                <a:gd name="connsiteX33" fmla="*/ 479201 w 600511"/>
                <a:gd name="connsiteY33" fmla="*/ 544574 h 593879"/>
                <a:gd name="connsiteX34" fmla="*/ 511464 w 600511"/>
                <a:gd name="connsiteY34" fmla="*/ 532650 h 593879"/>
                <a:gd name="connsiteX35" fmla="*/ 513723 w 600511"/>
                <a:gd name="connsiteY35" fmla="*/ 527816 h 593879"/>
                <a:gd name="connsiteX36" fmla="*/ 508560 w 600511"/>
                <a:gd name="connsiteY36" fmla="*/ 513315 h 593879"/>
                <a:gd name="connsiteX37" fmla="*/ 509206 w 600511"/>
                <a:gd name="connsiteY37" fmla="*/ 508159 h 593879"/>
                <a:gd name="connsiteX38" fmla="*/ 516626 w 600511"/>
                <a:gd name="connsiteY38" fmla="*/ 506225 h 593879"/>
                <a:gd name="connsiteX39" fmla="*/ 530500 w 600511"/>
                <a:gd name="connsiteY39" fmla="*/ 512348 h 593879"/>
                <a:gd name="connsiteX40" fmla="*/ 535339 w 600511"/>
                <a:gd name="connsiteY40" fmla="*/ 510737 h 593879"/>
                <a:gd name="connsiteX41" fmla="*/ 549858 w 600511"/>
                <a:gd name="connsiteY41" fmla="*/ 479478 h 593879"/>
                <a:gd name="connsiteX42" fmla="*/ 547922 w 600511"/>
                <a:gd name="connsiteY42" fmla="*/ 474322 h 593879"/>
                <a:gd name="connsiteX43" fmla="*/ 534049 w 600511"/>
                <a:gd name="connsiteY43" fmla="*/ 467876 h 593879"/>
                <a:gd name="connsiteX44" fmla="*/ 531145 w 600511"/>
                <a:gd name="connsiteY44" fmla="*/ 461109 h 593879"/>
                <a:gd name="connsiteX45" fmla="*/ 534694 w 600511"/>
                <a:gd name="connsiteY45" fmla="*/ 457242 h 593879"/>
                <a:gd name="connsiteX46" fmla="*/ 548890 w 600511"/>
                <a:gd name="connsiteY46" fmla="*/ 451764 h 593879"/>
                <a:gd name="connsiteX47" fmla="*/ 551148 w 600511"/>
                <a:gd name="connsiteY47" fmla="*/ 446930 h 593879"/>
                <a:gd name="connsiteX48" fmla="*/ 539211 w 600511"/>
                <a:gd name="connsiteY48" fmla="*/ 414704 h 593879"/>
                <a:gd name="connsiteX49" fmla="*/ 534371 w 600511"/>
                <a:gd name="connsiteY49" fmla="*/ 412448 h 593879"/>
                <a:gd name="connsiteX50" fmla="*/ 520175 w 600511"/>
                <a:gd name="connsiteY50" fmla="*/ 417604 h 593879"/>
                <a:gd name="connsiteX51" fmla="*/ 514691 w 600511"/>
                <a:gd name="connsiteY51" fmla="*/ 416960 h 593879"/>
                <a:gd name="connsiteX52" fmla="*/ 512755 w 600511"/>
                <a:gd name="connsiteY52" fmla="*/ 409548 h 593879"/>
                <a:gd name="connsiteX53" fmla="*/ 518885 w 600511"/>
                <a:gd name="connsiteY53" fmla="*/ 396013 h 593879"/>
                <a:gd name="connsiteX54" fmla="*/ 516949 w 600511"/>
                <a:gd name="connsiteY54" fmla="*/ 390857 h 593879"/>
                <a:gd name="connsiteX55" fmla="*/ 485976 w 600511"/>
                <a:gd name="connsiteY55" fmla="*/ 376355 h 593879"/>
                <a:gd name="connsiteX56" fmla="*/ 480814 w 600511"/>
                <a:gd name="connsiteY56" fmla="*/ 378289 h 593879"/>
                <a:gd name="connsiteX57" fmla="*/ 474361 w 600511"/>
                <a:gd name="connsiteY57" fmla="*/ 392146 h 593879"/>
                <a:gd name="connsiteX58" fmla="*/ 470167 w 600511"/>
                <a:gd name="connsiteY58" fmla="*/ 395368 h 593879"/>
                <a:gd name="connsiteX59" fmla="*/ 463714 w 600511"/>
                <a:gd name="connsiteY59" fmla="*/ 391824 h 593879"/>
                <a:gd name="connsiteX60" fmla="*/ 458230 w 600511"/>
                <a:gd name="connsiteY60" fmla="*/ 377322 h 593879"/>
                <a:gd name="connsiteX61" fmla="*/ 453390 w 600511"/>
                <a:gd name="connsiteY61" fmla="*/ 375066 h 593879"/>
                <a:gd name="connsiteX62" fmla="*/ 0 w 600511"/>
                <a:gd name="connsiteY62" fmla="*/ 372515 h 593879"/>
                <a:gd name="connsiteX63" fmla="*/ 233292 w 600511"/>
                <a:gd name="connsiteY63" fmla="*/ 465626 h 593879"/>
                <a:gd name="connsiteX64" fmla="*/ 305248 w 600511"/>
                <a:gd name="connsiteY64" fmla="*/ 461116 h 593879"/>
                <a:gd name="connsiteX65" fmla="*/ 332998 w 600511"/>
                <a:gd name="connsiteY65" fmla="*/ 549716 h 593879"/>
                <a:gd name="connsiteX66" fmla="*/ 233292 w 600511"/>
                <a:gd name="connsiteY66" fmla="*/ 558737 h 593879"/>
                <a:gd name="connsiteX67" fmla="*/ 0 w 600511"/>
                <a:gd name="connsiteY67" fmla="*/ 465626 h 593879"/>
                <a:gd name="connsiteX68" fmla="*/ 466295 w 600511"/>
                <a:gd name="connsiteY68" fmla="*/ 326083 h 593879"/>
                <a:gd name="connsiteX69" fmla="*/ 600511 w 600511"/>
                <a:gd name="connsiteY69" fmla="*/ 459820 h 593879"/>
                <a:gd name="connsiteX70" fmla="*/ 466295 w 600511"/>
                <a:gd name="connsiteY70" fmla="*/ 593879 h 593879"/>
                <a:gd name="connsiteX71" fmla="*/ 332080 w 600511"/>
                <a:gd name="connsiteY71" fmla="*/ 459820 h 593879"/>
                <a:gd name="connsiteX72" fmla="*/ 466295 w 600511"/>
                <a:gd name="connsiteY72" fmla="*/ 326083 h 593879"/>
                <a:gd name="connsiteX73" fmla="*/ 0 w 600511"/>
                <a:gd name="connsiteY73" fmla="*/ 232654 h 593879"/>
                <a:gd name="connsiteX74" fmla="*/ 233309 w 600511"/>
                <a:gd name="connsiteY74" fmla="*/ 326103 h 593879"/>
                <a:gd name="connsiteX75" fmla="*/ 466296 w 600511"/>
                <a:gd name="connsiteY75" fmla="*/ 232654 h 593879"/>
                <a:gd name="connsiteX76" fmla="*/ 466296 w 600511"/>
                <a:gd name="connsiteY76" fmla="*/ 299035 h 593879"/>
                <a:gd name="connsiteX77" fmla="*/ 312370 w 600511"/>
                <a:gd name="connsiteY77" fmla="*/ 413429 h 593879"/>
                <a:gd name="connsiteX78" fmla="*/ 233309 w 600511"/>
                <a:gd name="connsiteY78" fmla="*/ 419229 h 593879"/>
                <a:gd name="connsiteX79" fmla="*/ 0 w 600511"/>
                <a:gd name="connsiteY79" fmla="*/ 326103 h 593879"/>
                <a:gd name="connsiteX80" fmla="*/ 233309 w 600511"/>
                <a:gd name="connsiteY80" fmla="*/ 23200 h 593879"/>
                <a:gd name="connsiteX81" fmla="*/ 23234 w 600511"/>
                <a:gd name="connsiteY81" fmla="*/ 93123 h 593879"/>
                <a:gd name="connsiteX82" fmla="*/ 233309 w 600511"/>
                <a:gd name="connsiteY82" fmla="*/ 163046 h 593879"/>
                <a:gd name="connsiteX83" fmla="*/ 443062 w 600511"/>
                <a:gd name="connsiteY83" fmla="*/ 93123 h 593879"/>
                <a:gd name="connsiteX84" fmla="*/ 233309 w 600511"/>
                <a:gd name="connsiteY84" fmla="*/ 23200 h 593879"/>
                <a:gd name="connsiteX85" fmla="*/ 233309 w 600511"/>
                <a:gd name="connsiteY85" fmla="*/ 0 h 593879"/>
                <a:gd name="connsiteX86" fmla="*/ 466296 w 600511"/>
                <a:gd name="connsiteY86" fmla="*/ 93123 h 593879"/>
                <a:gd name="connsiteX87" fmla="*/ 466296 w 600511"/>
                <a:gd name="connsiteY87" fmla="*/ 186246 h 593879"/>
                <a:gd name="connsiteX88" fmla="*/ 233309 w 600511"/>
                <a:gd name="connsiteY88" fmla="*/ 279369 h 593879"/>
                <a:gd name="connsiteX89" fmla="*/ 0 w 600511"/>
                <a:gd name="connsiteY89" fmla="*/ 186246 h 593879"/>
                <a:gd name="connsiteX90" fmla="*/ 0 w 600511"/>
                <a:gd name="connsiteY90" fmla="*/ 93123 h 593879"/>
                <a:gd name="connsiteX91" fmla="*/ 233309 w 600511"/>
                <a:gd name="connsiteY91" fmla="*/ 0 h 59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00511" h="593879">
                  <a:moveTo>
                    <a:pt x="466437" y="421770"/>
                  </a:moveTo>
                  <a:cubicBezTo>
                    <a:pt x="487560" y="421770"/>
                    <a:pt x="504684" y="438878"/>
                    <a:pt x="504684" y="459981"/>
                  </a:cubicBezTo>
                  <a:cubicBezTo>
                    <a:pt x="504684" y="481084"/>
                    <a:pt x="487560" y="498192"/>
                    <a:pt x="466437" y="498192"/>
                  </a:cubicBezTo>
                  <a:cubicBezTo>
                    <a:pt x="445314" y="498192"/>
                    <a:pt x="428190" y="481084"/>
                    <a:pt x="428190" y="459981"/>
                  </a:cubicBezTo>
                  <a:cubicBezTo>
                    <a:pt x="428190" y="438878"/>
                    <a:pt x="445314" y="421770"/>
                    <a:pt x="466437" y="421770"/>
                  </a:cubicBezTo>
                  <a:close/>
                  <a:moveTo>
                    <a:pt x="453390" y="375066"/>
                  </a:moveTo>
                  <a:lnTo>
                    <a:pt x="421127" y="386990"/>
                  </a:lnTo>
                  <a:cubicBezTo>
                    <a:pt x="419191" y="387957"/>
                    <a:pt x="418223" y="389890"/>
                    <a:pt x="418868" y="392146"/>
                  </a:cubicBezTo>
                  <a:lnTo>
                    <a:pt x="424031" y="406325"/>
                  </a:lnTo>
                  <a:cubicBezTo>
                    <a:pt x="424998" y="408259"/>
                    <a:pt x="424676" y="410515"/>
                    <a:pt x="423385" y="411481"/>
                  </a:cubicBezTo>
                  <a:cubicBezTo>
                    <a:pt x="422417" y="412448"/>
                    <a:pt x="418223" y="414382"/>
                    <a:pt x="416287" y="413737"/>
                  </a:cubicBezTo>
                  <a:lnTo>
                    <a:pt x="402414" y="407292"/>
                  </a:lnTo>
                  <a:cubicBezTo>
                    <a:pt x="400478" y="406325"/>
                    <a:pt x="398220" y="407292"/>
                    <a:pt x="397252" y="409226"/>
                  </a:cubicBezTo>
                  <a:lnTo>
                    <a:pt x="383056" y="440485"/>
                  </a:lnTo>
                  <a:cubicBezTo>
                    <a:pt x="382088" y="442096"/>
                    <a:pt x="383056" y="444674"/>
                    <a:pt x="384669" y="445318"/>
                  </a:cubicBezTo>
                  <a:lnTo>
                    <a:pt x="398542" y="451764"/>
                  </a:lnTo>
                  <a:cubicBezTo>
                    <a:pt x="400478" y="452730"/>
                    <a:pt x="402091" y="454664"/>
                    <a:pt x="401769" y="455953"/>
                  </a:cubicBezTo>
                  <a:cubicBezTo>
                    <a:pt x="401769" y="457564"/>
                    <a:pt x="400156" y="462076"/>
                    <a:pt x="398220" y="462720"/>
                  </a:cubicBezTo>
                  <a:lnTo>
                    <a:pt x="384024" y="467876"/>
                  </a:lnTo>
                  <a:cubicBezTo>
                    <a:pt x="382088" y="468521"/>
                    <a:pt x="381120" y="470777"/>
                    <a:pt x="381766" y="472710"/>
                  </a:cubicBezTo>
                  <a:lnTo>
                    <a:pt x="393380" y="504936"/>
                  </a:lnTo>
                  <a:cubicBezTo>
                    <a:pt x="394348" y="506870"/>
                    <a:pt x="396607" y="507836"/>
                    <a:pt x="398542" y="507192"/>
                  </a:cubicBezTo>
                  <a:lnTo>
                    <a:pt x="412738" y="502036"/>
                  </a:lnTo>
                  <a:cubicBezTo>
                    <a:pt x="414674" y="501391"/>
                    <a:pt x="417255" y="501713"/>
                    <a:pt x="417900" y="502680"/>
                  </a:cubicBezTo>
                  <a:cubicBezTo>
                    <a:pt x="418868" y="503969"/>
                    <a:pt x="421127" y="508159"/>
                    <a:pt x="420159" y="510092"/>
                  </a:cubicBezTo>
                  <a:lnTo>
                    <a:pt x="413706" y="523949"/>
                  </a:lnTo>
                  <a:cubicBezTo>
                    <a:pt x="412738" y="525561"/>
                    <a:pt x="413706" y="527816"/>
                    <a:pt x="415642" y="528783"/>
                  </a:cubicBezTo>
                  <a:lnTo>
                    <a:pt x="446937" y="543285"/>
                  </a:lnTo>
                  <a:cubicBezTo>
                    <a:pt x="448873" y="544251"/>
                    <a:pt x="451132" y="543285"/>
                    <a:pt x="451777" y="541351"/>
                  </a:cubicBezTo>
                  <a:lnTo>
                    <a:pt x="458230" y="527494"/>
                  </a:lnTo>
                  <a:cubicBezTo>
                    <a:pt x="459198" y="525561"/>
                    <a:pt x="461133" y="524272"/>
                    <a:pt x="462424" y="524272"/>
                  </a:cubicBezTo>
                  <a:cubicBezTo>
                    <a:pt x="464037" y="524272"/>
                    <a:pt x="468554" y="525883"/>
                    <a:pt x="469199" y="528139"/>
                  </a:cubicBezTo>
                  <a:lnTo>
                    <a:pt x="474361" y="542318"/>
                  </a:lnTo>
                  <a:cubicBezTo>
                    <a:pt x="475007" y="544251"/>
                    <a:pt x="477265" y="545218"/>
                    <a:pt x="479201" y="544574"/>
                  </a:cubicBezTo>
                  <a:lnTo>
                    <a:pt x="511464" y="532650"/>
                  </a:lnTo>
                  <a:cubicBezTo>
                    <a:pt x="513400" y="532006"/>
                    <a:pt x="514368" y="529750"/>
                    <a:pt x="513723" y="527816"/>
                  </a:cubicBezTo>
                  <a:lnTo>
                    <a:pt x="508560" y="513315"/>
                  </a:lnTo>
                  <a:cubicBezTo>
                    <a:pt x="507915" y="511381"/>
                    <a:pt x="508238" y="509125"/>
                    <a:pt x="509206" y="508159"/>
                  </a:cubicBezTo>
                  <a:cubicBezTo>
                    <a:pt x="510496" y="507192"/>
                    <a:pt x="514691" y="505258"/>
                    <a:pt x="516626" y="506225"/>
                  </a:cubicBezTo>
                  <a:lnTo>
                    <a:pt x="530500" y="512348"/>
                  </a:lnTo>
                  <a:cubicBezTo>
                    <a:pt x="532435" y="513315"/>
                    <a:pt x="534694" y="512348"/>
                    <a:pt x="535339" y="510737"/>
                  </a:cubicBezTo>
                  <a:lnTo>
                    <a:pt x="549858" y="479478"/>
                  </a:lnTo>
                  <a:cubicBezTo>
                    <a:pt x="550825" y="477544"/>
                    <a:pt x="549858" y="475288"/>
                    <a:pt x="547922" y="474322"/>
                  </a:cubicBezTo>
                  <a:lnTo>
                    <a:pt x="534049" y="467876"/>
                  </a:lnTo>
                  <a:cubicBezTo>
                    <a:pt x="532113" y="467232"/>
                    <a:pt x="531145" y="462398"/>
                    <a:pt x="531145" y="461109"/>
                  </a:cubicBezTo>
                  <a:cubicBezTo>
                    <a:pt x="531145" y="459498"/>
                    <a:pt x="532435" y="457886"/>
                    <a:pt x="534694" y="457242"/>
                  </a:cubicBezTo>
                  <a:lnTo>
                    <a:pt x="548890" y="451764"/>
                  </a:lnTo>
                  <a:cubicBezTo>
                    <a:pt x="550825" y="451119"/>
                    <a:pt x="551793" y="448863"/>
                    <a:pt x="551148" y="446930"/>
                  </a:cubicBezTo>
                  <a:lnTo>
                    <a:pt x="539211" y="414704"/>
                  </a:lnTo>
                  <a:cubicBezTo>
                    <a:pt x="538565" y="412770"/>
                    <a:pt x="536307" y="411804"/>
                    <a:pt x="534371" y="412448"/>
                  </a:cubicBezTo>
                  <a:lnTo>
                    <a:pt x="520175" y="417604"/>
                  </a:lnTo>
                  <a:cubicBezTo>
                    <a:pt x="517917" y="418571"/>
                    <a:pt x="515658" y="418249"/>
                    <a:pt x="514691" y="416960"/>
                  </a:cubicBezTo>
                  <a:cubicBezTo>
                    <a:pt x="513723" y="415993"/>
                    <a:pt x="511787" y="411481"/>
                    <a:pt x="512755" y="409548"/>
                  </a:cubicBezTo>
                  <a:lnTo>
                    <a:pt x="518885" y="396013"/>
                  </a:lnTo>
                  <a:cubicBezTo>
                    <a:pt x="519853" y="394079"/>
                    <a:pt x="518885" y="391824"/>
                    <a:pt x="516949" y="390857"/>
                  </a:cubicBezTo>
                  <a:lnTo>
                    <a:pt x="485976" y="376355"/>
                  </a:lnTo>
                  <a:cubicBezTo>
                    <a:pt x="484040" y="375711"/>
                    <a:pt x="481782" y="376355"/>
                    <a:pt x="480814" y="378289"/>
                  </a:cubicBezTo>
                  <a:lnTo>
                    <a:pt x="474361" y="392146"/>
                  </a:lnTo>
                  <a:cubicBezTo>
                    <a:pt x="473716" y="394079"/>
                    <a:pt x="471780" y="395691"/>
                    <a:pt x="470167" y="395368"/>
                  </a:cubicBezTo>
                  <a:cubicBezTo>
                    <a:pt x="468877" y="395368"/>
                    <a:pt x="464360" y="393757"/>
                    <a:pt x="463714" y="391824"/>
                  </a:cubicBezTo>
                  <a:lnTo>
                    <a:pt x="458230" y="377322"/>
                  </a:lnTo>
                  <a:cubicBezTo>
                    <a:pt x="457584" y="375389"/>
                    <a:pt x="455326" y="374422"/>
                    <a:pt x="453390" y="375066"/>
                  </a:cubicBezTo>
                  <a:close/>
                  <a:moveTo>
                    <a:pt x="0" y="372515"/>
                  </a:moveTo>
                  <a:cubicBezTo>
                    <a:pt x="0" y="424064"/>
                    <a:pt x="104223" y="465626"/>
                    <a:pt x="233292" y="465626"/>
                  </a:cubicBezTo>
                  <a:cubicBezTo>
                    <a:pt x="258461" y="465626"/>
                    <a:pt x="282661" y="464015"/>
                    <a:pt x="305248" y="461116"/>
                  </a:cubicBezTo>
                  <a:cubicBezTo>
                    <a:pt x="305571" y="493978"/>
                    <a:pt x="315574" y="524264"/>
                    <a:pt x="332998" y="549716"/>
                  </a:cubicBezTo>
                  <a:cubicBezTo>
                    <a:pt x="302667" y="555515"/>
                    <a:pt x="268786" y="558737"/>
                    <a:pt x="233292" y="558737"/>
                  </a:cubicBezTo>
                  <a:cubicBezTo>
                    <a:pt x="104546" y="558737"/>
                    <a:pt x="0" y="517175"/>
                    <a:pt x="0" y="465626"/>
                  </a:cubicBezTo>
                  <a:close/>
                  <a:moveTo>
                    <a:pt x="466295" y="326083"/>
                  </a:moveTo>
                  <a:cubicBezTo>
                    <a:pt x="540501" y="326083"/>
                    <a:pt x="600511" y="386023"/>
                    <a:pt x="600511" y="459820"/>
                  </a:cubicBezTo>
                  <a:cubicBezTo>
                    <a:pt x="600511" y="533939"/>
                    <a:pt x="540501" y="593879"/>
                    <a:pt x="466295" y="593879"/>
                  </a:cubicBezTo>
                  <a:cubicBezTo>
                    <a:pt x="392412" y="593879"/>
                    <a:pt x="332080" y="533939"/>
                    <a:pt x="332080" y="459820"/>
                  </a:cubicBezTo>
                  <a:cubicBezTo>
                    <a:pt x="332080" y="386023"/>
                    <a:pt x="392412" y="326083"/>
                    <a:pt x="466295" y="326083"/>
                  </a:cubicBezTo>
                  <a:close/>
                  <a:moveTo>
                    <a:pt x="0" y="232654"/>
                  </a:moveTo>
                  <a:cubicBezTo>
                    <a:pt x="0" y="284212"/>
                    <a:pt x="104554" y="326103"/>
                    <a:pt x="233309" y="326103"/>
                  </a:cubicBezTo>
                  <a:cubicBezTo>
                    <a:pt x="362065" y="326103"/>
                    <a:pt x="466296" y="284212"/>
                    <a:pt x="466296" y="232654"/>
                  </a:cubicBezTo>
                  <a:lnTo>
                    <a:pt x="466296" y="299035"/>
                  </a:lnTo>
                  <a:cubicBezTo>
                    <a:pt x="393689" y="299035"/>
                    <a:pt x="332377" y="347370"/>
                    <a:pt x="312370" y="413429"/>
                  </a:cubicBezTo>
                  <a:cubicBezTo>
                    <a:pt x="287522" y="416973"/>
                    <a:pt x="261061" y="419229"/>
                    <a:pt x="233309" y="419229"/>
                  </a:cubicBezTo>
                  <a:cubicBezTo>
                    <a:pt x="104231" y="419229"/>
                    <a:pt x="0" y="377338"/>
                    <a:pt x="0" y="326103"/>
                  </a:cubicBezTo>
                  <a:close/>
                  <a:moveTo>
                    <a:pt x="233309" y="23200"/>
                  </a:moveTo>
                  <a:cubicBezTo>
                    <a:pt x="105199" y="23200"/>
                    <a:pt x="23234" y="64445"/>
                    <a:pt x="23234" y="93123"/>
                  </a:cubicBezTo>
                  <a:cubicBezTo>
                    <a:pt x="23234" y="121479"/>
                    <a:pt x="105199" y="163046"/>
                    <a:pt x="233309" y="163046"/>
                  </a:cubicBezTo>
                  <a:cubicBezTo>
                    <a:pt x="361420" y="163046"/>
                    <a:pt x="443062" y="121479"/>
                    <a:pt x="443062" y="93123"/>
                  </a:cubicBezTo>
                  <a:cubicBezTo>
                    <a:pt x="443062" y="64445"/>
                    <a:pt x="361420" y="23200"/>
                    <a:pt x="233309" y="23200"/>
                  </a:cubicBezTo>
                  <a:close/>
                  <a:moveTo>
                    <a:pt x="233309" y="0"/>
                  </a:moveTo>
                  <a:cubicBezTo>
                    <a:pt x="362065" y="0"/>
                    <a:pt x="466296" y="41567"/>
                    <a:pt x="466296" y="93123"/>
                  </a:cubicBezTo>
                  <a:lnTo>
                    <a:pt x="466296" y="186246"/>
                  </a:lnTo>
                  <a:cubicBezTo>
                    <a:pt x="466296" y="237802"/>
                    <a:pt x="362065" y="279369"/>
                    <a:pt x="233309" y="279369"/>
                  </a:cubicBezTo>
                  <a:cubicBezTo>
                    <a:pt x="104231" y="279369"/>
                    <a:pt x="0" y="237802"/>
                    <a:pt x="0" y="186246"/>
                  </a:cubicBezTo>
                  <a:lnTo>
                    <a:pt x="0" y="93123"/>
                  </a:lnTo>
                  <a:cubicBezTo>
                    <a:pt x="0" y="41567"/>
                    <a:pt x="104554" y="0"/>
                    <a:pt x="2333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" name="í$lïďè">
              <a:extLst>
                <a:ext uri="{FF2B5EF4-FFF2-40B4-BE49-F238E27FC236}">
                  <a16:creationId xmlns:a16="http://schemas.microsoft.com/office/drawing/2014/main" id="{6BC3B0F8-7F1A-4994-97EA-6AF9FA3823D7}"/>
                </a:ext>
              </a:extLst>
            </p:cNvPr>
            <p:cNvSpPr/>
            <p:nvPr/>
          </p:nvSpPr>
          <p:spPr bwMode="auto">
            <a:xfrm>
              <a:off x="5463966" y="3427093"/>
              <a:ext cx="611144" cy="635347"/>
            </a:xfrm>
            <a:custGeom>
              <a:avLst/>
              <a:gdLst>
                <a:gd name="connsiteX0" fmla="*/ 466115 w 584423"/>
                <a:gd name="connsiteY0" fmla="*/ 268189 h 607568"/>
                <a:gd name="connsiteX1" fmla="*/ 479022 w 584423"/>
                <a:gd name="connsiteY1" fmla="*/ 270337 h 607568"/>
                <a:gd name="connsiteX2" fmla="*/ 502991 w 584423"/>
                <a:gd name="connsiteY2" fmla="*/ 288288 h 607568"/>
                <a:gd name="connsiteX3" fmla="*/ 527113 w 584423"/>
                <a:gd name="connsiteY3" fmla="*/ 270337 h 607568"/>
                <a:gd name="connsiteX4" fmla="*/ 539866 w 584423"/>
                <a:gd name="connsiteY4" fmla="*/ 268189 h 607568"/>
                <a:gd name="connsiteX5" fmla="*/ 552004 w 584423"/>
                <a:gd name="connsiteY5" fmla="*/ 271871 h 607568"/>
                <a:gd name="connsiteX6" fmla="*/ 584423 w 584423"/>
                <a:gd name="connsiteY6" fmla="*/ 316826 h 607568"/>
                <a:gd name="connsiteX7" fmla="*/ 584423 w 584423"/>
                <a:gd name="connsiteY7" fmla="*/ 389092 h 607568"/>
                <a:gd name="connsiteX8" fmla="*/ 582118 w 584423"/>
                <a:gd name="connsiteY8" fmla="*/ 396917 h 607568"/>
                <a:gd name="connsiteX9" fmla="*/ 557842 w 584423"/>
                <a:gd name="connsiteY9" fmla="*/ 433894 h 607568"/>
                <a:gd name="connsiteX10" fmla="*/ 557842 w 584423"/>
                <a:gd name="connsiteY10" fmla="*/ 530708 h 607568"/>
                <a:gd name="connsiteX11" fmla="*/ 543553 w 584423"/>
                <a:gd name="connsiteY11" fmla="*/ 544977 h 607568"/>
                <a:gd name="connsiteX12" fmla="*/ 462428 w 584423"/>
                <a:gd name="connsiteY12" fmla="*/ 544977 h 607568"/>
                <a:gd name="connsiteX13" fmla="*/ 448139 w 584423"/>
                <a:gd name="connsiteY13" fmla="*/ 530708 h 607568"/>
                <a:gd name="connsiteX14" fmla="*/ 448139 w 584423"/>
                <a:gd name="connsiteY14" fmla="*/ 433894 h 607568"/>
                <a:gd name="connsiteX15" fmla="*/ 423863 w 584423"/>
                <a:gd name="connsiteY15" fmla="*/ 396917 h 607568"/>
                <a:gd name="connsiteX16" fmla="*/ 421558 w 584423"/>
                <a:gd name="connsiteY16" fmla="*/ 389092 h 607568"/>
                <a:gd name="connsiteX17" fmla="*/ 421558 w 584423"/>
                <a:gd name="connsiteY17" fmla="*/ 316826 h 607568"/>
                <a:gd name="connsiteX18" fmla="*/ 453977 w 584423"/>
                <a:gd name="connsiteY18" fmla="*/ 271871 h 607568"/>
                <a:gd name="connsiteX19" fmla="*/ 466115 w 584423"/>
                <a:gd name="connsiteY19" fmla="*/ 268189 h 607568"/>
                <a:gd name="connsiteX20" fmla="*/ 44557 w 584423"/>
                <a:gd name="connsiteY20" fmla="*/ 268189 h 607568"/>
                <a:gd name="connsiteX21" fmla="*/ 57310 w 584423"/>
                <a:gd name="connsiteY21" fmla="*/ 270337 h 607568"/>
                <a:gd name="connsiteX22" fmla="*/ 81432 w 584423"/>
                <a:gd name="connsiteY22" fmla="*/ 288288 h 607568"/>
                <a:gd name="connsiteX23" fmla="*/ 105401 w 584423"/>
                <a:gd name="connsiteY23" fmla="*/ 270337 h 607568"/>
                <a:gd name="connsiteX24" fmla="*/ 118308 w 584423"/>
                <a:gd name="connsiteY24" fmla="*/ 268189 h 607568"/>
                <a:gd name="connsiteX25" fmla="*/ 130446 w 584423"/>
                <a:gd name="connsiteY25" fmla="*/ 271871 h 607568"/>
                <a:gd name="connsiteX26" fmla="*/ 162865 w 584423"/>
                <a:gd name="connsiteY26" fmla="*/ 316826 h 607568"/>
                <a:gd name="connsiteX27" fmla="*/ 162865 w 584423"/>
                <a:gd name="connsiteY27" fmla="*/ 389092 h 607568"/>
                <a:gd name="connsiteX28" fmla="*/ 160560 w 584423"/>
                <a:gd name="connsiteY28" fmla="*/ 396917 h 607568"/>
                <a:gd name="connsiteX29" fmla="*/ 136284 w 584423"/>
                <a:gd name="connsiteY29" fmla="*/ 433894 h 607568"/>
                <a:gd name="connsiteX30" fmla="*/ 136284 w 584423"/>
                <a:gd name="connsiteY30" fmla="*/ 530708 h 607568"/>
                <a:gd name="connsiteX31" fmla="*/ 121995 w 584423"/>
                <a:gd name="connsiteY31" fmla="*/ 544977 h 607568"/>
                <a:gd name="connsiteX32" fmla="*/ 40870 w 584423"/>
                <a:gd name="connsiteY32" fmla="*/ 544977 h 607568"/>
                <a:gd name="connsiteX33" fmla="*/ 26581 w 584423"/>
                <a:gd name="connsiteY33" fmla="*/ 530708 h 607568"/>
                <a:gd name="connsiteX34" fmla="*/ 26581 w 584423"/>
                <a:gd name="connsiteY34" fmla="*/ 433894 h 607568"/>
                <a:gd name="connsiteX35" fmla="*/ 2305 w 584423"/>
                <a:gd name="connsiteY35" fmla="*/ 396917 h 607568"/>
                <a:gd name="connsiteX36" fmla="*/ 0 w 584423"/>
                <a:gd name="connsiteY36" fmla="*/ 389092 h 607568"/>
                <a:gd name="connsiteX37" fmla="*/ 0 w 584423"/>
                <a:gd name="connsiteY37" fmla="*/ 316826 h 607568"/>
                <a:gd name="connsiteX38" fmla="*/ 32419 w 584423"/>
                <a:gd name="connsiteY38" fmla="*/ 271871 h 607568"/>
                <a:gd name="connsiteX39" fmla="*/ 44557 w 584423"/>
                <a:gd name="connsiteY39" fmla="*/ 268189 h 607568"/>
                <a:gd name="connsiteX40" fmla="*/ 283757 w 584423"/>
                <a:gd name="connsiteY40" fmla="*/ 227644 h 607568"/>
                <a:gd name="connsiteX41" fmla="*/ 300667 w 584423"/>
                <a:gd name="connsiteY41" fmla="*/ 227644 h 607568"/>
                <a:gd name="connsiteX42" fmla="*/ 306663 w 584423"/>
                <a:gd name="connsiteY42" fmla="*/ 230253 h 607568"/>
                <a:gd name="connsiteX43" fmla="*/ 307739 w 584423"/>
                <a:gd name="connsiteY43" fmla="*/ 239459 h 607568"/>
                <a:gd name="connsiteX44" fmla="*/ 298669 w 584423"/>
                <a:gd name="connsiteY44" fmla="*/ 252962 h 607568"/>
                <a:gd name="connsiteX45" fmla="*/ 302973 w 584423"/>
                <a:gd name="connsiteY45" fmla="*/ 288561 h 607568"/>
                <a:gd name="connsiteX46" fmla="*/ 294672 w 584423"/>
                <a:gd name="connsiteY46" fmla="*/ 310810 h 607568"/>
                <a:gd name="connsiteX47" fmla="*/ 289752 w 584423"/>
                <a:gd name="connsiteY47" fmla="*/ 310810 h 607568"/>
                <a:gd name="connsiteX48" fmla="*/ 281451 w 584423"/>
                <a:gd name="connsiteY48" fmla="*/ 288561 h 607568"/>
                <a:gd name="connsiteX49" fmla="*/ 285755 w 584423"/>
                <a:gd name="connsiteY49" fmla="*/ 252962 h 607568"/>
                <a:gd name="connsiteX50" fmla="*/ 276685 w 584423"/>
                <a:gd name="connsiteY50" fmla="*/ 239459 h 607568"/>
                <a:gd name="connsiteX51" fmla="*/ 277761 w 584423"/>
                <a:gd name="connsiteY51" fmla="*/ 230253 h 607568"/>
                <a:gd name="connsiteX52" fmla="*/ 283757 w 584423"/>
                <a:gd name="connsiteY52" fmla="*/ 227644 h 607568"/>
                <a:gd name="connsiteX53" fmla="*/ 243694 w 584423"/>
                <a:gd name="connsiteY53" fmla="*/ 226776 h 607568"/>
                <a:gd name="connsiteX54" fmla="*/ 248918 w 584423"/>
                <a:gd name="connsiteY54" fmla="*/ 230304 h 607568"/>
                <a:gd name="connsiteX55" fmla="*/ 285947 w 584423"/>
                <a:gd name="connsiteY55" fmla="*/ 331870 h 607568"/>
                <a:gd name="connsiteX56" fmla="*/ 298546 w 584423"/>
                <a:gd name="connsiteY56" fmla="*/ 331870 h 607568"/>
                <a:gd name="connsiteX57" fmla="*/ 335575 w 584423"/>
                <a:gd name="connsiteY57" fmla="*/ 230304 h 607568"/>
                <a:gd name="connsiteX58" fmla="*/ 342336 w 584423"/>
                <a:gd name="connsiteY58" fmla="*/ 226929 h 607568"/>
                <a:gd name="connsiteX59" fmla="*/ 360005 w 584423"/>
                <a:gd name="connsiteY59" fmla="*/ 232299 h 607568"/>
                <a:gd name="connsiteX60" fmla="*/ 360005 w 584423"/>
                <a:gd name="connsiteY60" fmla="*/ 232452 h 607568"/>
                <a:gd name="connsiteX61" fmla="*/ 397495 w 584423"/>
                <a:gd name="connsiteY61" fmla="*/ 284002 h 607568"/>
                <a:gd name="connsiteX62" fmla="*/ 397495 w 584423"/>
                <a:gd name="connsiteY62" fmla="*/ 391704 h 607568"/>
                <a:gd name="connsiteX63" fmla="*/ 396573 w 584423"/>
                <a:gd name="connsiteY63" fmla="*/ 394619 h 607568"/>
                <a:gd name="connsiteX64" fmla="*/ 358008 w 584423"/>
                <a:gd name="connsiteY64" fmla="*/ 453379 h 607568"/>
                <a:gd name="connsiteX65" fmla="*/ 358008 w 584423"/>
                <a:gd name="connsiteY65" fmla="*/ 602045 h 607568"/>
                <a:gd name="connsiteX66" fmla="*/ 352476 w 584423"/>
                <a:gd name="connsiteY66" fmla="*/ 607568 h 607568"/>
                <a:gd name="connsiteX67" fmla="*/ 232017 w 584423"/>
                <a:gd name="connsiteY67" fmla="*/ 607568 h 607568"/>
                <a:gd name="connsiteX68" fmla="*/ 226485 w 584423"/>
                <a:gd name="connsiteY68" fmla="*/ 602045 h 607568"/>
                <a:gd name="connsiteX69" fmla="*/ 226485 w 584423"/>
                <a:gd name="connsiteY69" fmla="*/ 453379 h 607568"/>
                <a:gd name="connsiteX70" fmla="*/ 187920 w 584423"/>
                <a:gd name="connsiteY70" fmla="*/ 394619 h 607568"/>
                <a:gd name="connsiteX71" fmla="*/ 186998 w 584423"/>
                <a:gd name="connsiteY71" fmla="*/ 391704 h 607568"/>
                <a:gd name="connsiteX72" fmla="*/ 186998 w 584423"/>
                <a:gd name="connsiteY72" fmla="*/ 284309 h 607568"/>
                <a:gd name="connsiteX73" fmla="*/ 224488 w 584423"/>
                <a:gd name="connsiteY73" fmla="*/ 232299 h 607568"/>
                <a:gd name="connsiteX74" fmla="*/ 243694 w 584423"/>
                <a:gd name="connsiteY74" fmla="*/ 226776 h 607568"/>
                <a:gd name="connsiteX75" fmla="*/ 503026 w 584423"/>
                <a:gd name="connsiteY75" fmla="*/ 160466 h 607568"/>
                <a:gd name="connsiteX76" fmla="*/ 550975 w 584423"/>
                <a:gd name="connsiteY76" fmla="*/ 208274 h 607568"/>
                <a:gd name="connsiteX77" fmla="*/ 503026 w 584423"/>
                <a:gd name="connsiteY77" fmla="*/ 256082 h 607568"/>
                <a:gd name="connsiteX78" fmla="*/ 455077 w 584423"/>
                <a:gd name="connsiteY78" fmla="*/ 208274 h 607568"/>
                <a:gd name="connsiteX79" fmla="*/ 503026 w 584423"/>
                <a:gd name="connsiteY79" fmla="*/ 160466 h 607568"/>
                <a:gd name="connsiteX80" fmla="*/ 81397 w 584423"/>
                <a:gd name="connsiteY80" fmla="*/ 160466 h 607568"/>
                <a:gd name="connsiteX81" fmla="*/ 129346 w 584423"/>
                <a:gd name="connsiteY81" fmla="*/ 208274 h 607568"/>
                <a:gd name="connsiteX82" fmla="*/ 81397 w 584423"/>
                <a:gd name="connsiteY82" fmla="*/ 256082 h 607568"/>
                <a:gd name="connsiteX83" fmla="*/ 33448 w 584423"/>
                <a:gd name="connsiteY83" fmla="*/ 208274 h 607568"/>
                <a:gd name="connsiteX84" fmla="*/ 81397 w 584423"/>
                <a:gd name="connsiteY84" fmla="*/ 160466 h 607568"/>
                <a:gd name="connsiteX85" fmla="*/ 292212 w 584423"/>
                <a:gd name="connsiteY85" fmla="*/ 79174 h 607568"/>
                <a:gd name="connsiteX86" fmla="*/ 353957 w 584423"/>
                <a:gd name="connsiteY86" fmla="*/ 140848 h 607568"/>
                <a:gd name="connsiteX87" fmla="*/ 292212 w 584423"/>
                <a:gd name="connsiteY87" fmla="*/ 202522 h 607568"/>
                <a:gd name="connsiteX88" fmla="*/ 230467 w 584423"/>
                <a:gd name="connsiteY88" fmla="*/ 140848 h 607568"/>
                <a:gd name="connsiteX89" fmla="*/ 292212 w 584423"/>
                <a:gd name="connsiteY89" fmla="*/ 79174 h 607568"/>
                <a:gd name="connsiteX90" fmla="*/ 292212 w 584423"/>
                <a:gd name="connsiteY90" fmla="*/ 0 h 607568"/>
                <a:gd name="connsiteX91" fmla="*/ 504683 w 584423"/>
                <a:gd name="connsiteY91" fmla="*/ 105068 h 607568"/>
                <a:gd name="connsiteX92" fmla="*/ 501764 w 584423"/>
                <a:gd name="connsiteY92" fmla="*/ 126542 h 607568"/>
                <a:gd name="connsiteX93" fmla="*/ 492546 w 584423"/>
                <a:gd name="connsiteY93" fmla="*/ 129610 h 607568"/>
                <a:gd name="connsiteX94" fmla="*/ 480409 w 584423"/>
                <a:gd name="connsiteY94" fmla="*/ 123628 h 607568"/>
                <a:gd name="connsiteX95" fmla="*/ 292212 w 584423"/>
                <a:gd name="connsiteY95" fmla="*/ 30677 h 607568"/>
                <a:gd name="connsiteX96" fmla="*/ 104014 w 584423"/>
                <a:gd name="connsiteY96" fmla="*/ 123628 h 607568"/>
                <a:gd name="connsiteX97" fmla="*/ 82659 w 584423"/>
                <a:gd name="connsiteY97" fmla="*/ 126542 h 607568"/>
                <a:gd name="connsiteX98" fmla="*/ 79740 w 584423"/>
                <a:gd name="connsiteY98" fmla="*/ 105068 h 607568"/>
                <a:gd name="connsiteX99" fmla="*/ 292212 w 584423"/>
                <a:gd name="connsiteY99" fmla="*/ 0 h 6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584423" h="607568">
                  <a:moveTo>
                    <a:pt x="466115" y="268189"/>
                  </a:moveTo>
                  <a:cubicBezTo>
                    <a:pt x="470571" y="266808"/>
                    <a:pt x="475334" y="267575"/>
                    <a:pt x="479022" y="270337"/>
                  </a:cubicBezTo>
                  <a:lnTo>
                    <a:pt x="502991" y="288288"/>
                  </a:lnTo>
                  <a:lnTo>
                    <a:pt x="527113" y="270337"/>
                  </a:lnTo>
                  <a:cubicBezTo>
                    <a:pt x="530647" y="267575"/>
                    <a:pt x="535410" y="266808"/>
                    <a:pt x="539866" y="268189"/>
                  </a:cubicBezTo>
                  <a:cubicBezTo>
                    <a:pt x="539866" y="268189"/>
                    <a:pt x="551850" y="271871"/>
                    <a:pt x="552004" y="271871"/>
                  </a:cubicBezTo>
                  <a:cubicBezTo>
                    <a:pt x="571363" y="278315"/>
                    <a:pt x="584423" y="296420"/>
                    <a:pt x="584423" y="316826"/>
                  </a:cubicBezTo>
                  <a:lnTo>
                    <a:pt x="584423" y="389092"/>
                  </a:lnTo>
                  <a:cubicBezTo>
                    <a:pt x="584423" y="391854"/>
                    <a:pt x="583655" y="394615"/>
                    <a:pt x="582118" y="396917"/>
                  </a:cubicBezTo>
                  <a:lnTo>
                    <a:pt x="557842" y="433894"/>
                  </a:lnTo>
                  <a:lnTo>
                    <a:pt x="557842" y="530708"/>
                  </a:lnTo>
                  <a:cubicBezTo>
                    <a:pt x="557842" y="538686"/>
                    <a:pt x="551389" y="544977"/>
                    <a:pt x="543553" y="544977"/>
                  </a:cubicBezTo>
                  <a:lnTo>
                    <a:pt x="462428" y="544977"/>
                  </a:lnTo>
                  <a:cubicBezTo>
                    <a:pt x="454592" y="544977"/>
                    <a:pt x="448139" y="538686"/>
                    <a:pt x="448139" y="530708"/>
                  </a:cubicBezTo>
                  <a:lnTo>
                    <a:pt x="448139" y="433894"/>
                  </a:lnTo>
                  <a:lnTo>
                    <a:pt x="423863" y="396917"/>
                  </a:lnTo>
                  <a:cubicBezTo>
                    <a:pt x="422326" y="394615"/>
                    <a:pt x="421558" y="391854"/>
                    <a:pt x="421558" y="389092"/>
                  </a:cubicBezTo>
                  <a:lnTo>
                    <a:pt x="421558" y="316826"/>
                  </a:lnTo>
                  <a:cubicBezTo>
                    <a:pt x="421558" y="296420"/>
                    <a:pt x="434618" y="278315"/>
                    <a:pt x="453977" y="271871"/>
                  </a:cubicBezTo>
                  <a:cubicBezTo>
                    <a:pt x="454131" y="271871"/>
                    <a:pt x="466115" y="268189"/>
                    <a:pt x="466115" y="268189"/>
                  </a:cubicBezTo>
                  <a:close/>
                  <a:moveTo>
                    <a:pt x="44557" y="268189"/>
                  </a:moveTo>
                  <a:cubicBezTo>
                    <a:pt x="49013" y="266808"/>
                    <a:pt x="53776" y="267575"/>
                    <a:pt x="57310" y="270337"/>
                  </a:cubicBezTo>
                  <a:lnTo>
                    <a:pt x="81432" y="288288"/>
                  </a:lnTo>
                  <a:lnTo>
                    <a:pt x="105401" y="270337"/>
                  </a:lnTo>
                  <a:cubicBezTo>
                    <a:pt x="109089" y="267575"/>
                    <a:pt x="113852" y="266808"/>
                    <a:pt x="118308" y="268189"/>
                  </a:cubicBezTo>
                  <a:cubicBezTo>
                    <a:pt x="118308" y="268189"/>
                    <a:pt x="130292" y="271871"/>
                    <a:pt x="130446" y="271871"/>
                  </a:cubicBezTo>
                  <a:cubicBezTo>
                    <a:pt x="149805" y="278315"/>
                    <a:pt x="162865" y="296420"/>
                    <a:pt x="162865" y="316826"/>
                  </a:cubicBezTo>
                  <a:lnTo>
                    <a:pt x="162865" y="389092"/>
                  </a:lnTo>
                  <a:cubicBezTo>
                    <a:pt x="162865" y="391854"/>
                    <a:pt x="162097" y="394615"/>
                    <a:pt x="160560" y="396917"/>
                  </a:cubicBezTo>
                  <a:lnTo>
                    <a:pt x="136284" y="433894"/>
                  </a:lnTo>
                  <a:lnTo>
                    <a:pt x="136284" y="530708"/>
                  </a:lnTo>
                  <a:cubicBezTo>
                    <a:pt x="136284" y="538686"/>
                    <a:pt x="129831" y="544977"/>
                    <a:pt x="121995" y="544977"/>
                  </a:cubicBezTo>
                  <a:lnTo>
                    <a:pt x="40870" y="544977"/>
                  </a:lnTo>
                  <a:cubicBezTo>
                    <a:pt x="33034" y="544977"/>
                    <a:pt x="26581" y="538686"/>
                    <a:pt x="26581" y="530708"/>
                  </a:cubicBezTo>
                  <a:lnTo>
                    <a:pt x="26581" y="433894"/>
                  </a:lnTo>
                  <a:lnTo>
                    <a:pt x="2305" y="396917"/>
                  </a:lnTo>
                  <a:cubicBezTo>
                    <a:pt x="768" y="394615"/>
                    <a:pt x="0" y="391854"/>
                    <a:pt x="0" y="389092"/>
                  </a:cubicBezTo>
                  <a:lnTo>
                    <a:pt x="0" y="316826"/>
                  </a:lnTo>
                  <a:cubicBezTo>
                    <a:pt x="0" y="296420"/>
                    <a:pt x="13060" y="278315"/>
                    <a:pt x="32419" y="271871"/>
                  </a:cubicBezTo>
                  <a:cubicBezTo>
                    <a:pt x="32573" y="271871"/>
                    <a:pt x="44557" y="268189"/>
                    <a:pt x="44557" y="268189"/>
                  </a:cubicBezTo>
                  <a:close/>
                  <a:moveTo>
                    <a:pt x="283757" y="227644"/>
                  </a:moveTo>
                  <a:lnTo>
                    <a:pt x="300667" y="227644"/>
                  </a:lnTo>
                  <a:cubicBezTo>
                    <a:pt x="302973" y="227644"/>
                    <a:pt x="305126" y="228565"/>
                    <a:pt x="306663" y="230253"/>
                  </a:cubicBezTo>
                  <a:cubicBezTo>
                    <a:pt x="309123" y="232861"/>
                    <a:pt x="309430" y="236544"/>
                    <a:pt x="307739" y="239459"/>
                  </a:cubicBezTo>
                  <a:lnTo>
                    <a:pt x="298669" y="252962"/>
                  </a:lnTo>
                  <a:lnTo>
                    <a:pt x="302973" y="288561"/>
                  </a:lnTo>
                  <a:lnTo>
                    <a:pt x="294672" y="310810"/>
                  </a:lnTo>
                  <a:cubicBezTo>
                    <a:pt x="293749" y="312958"/>
                    <a:pt x="290675" y="312958"/>
                    <a:pt x="289752" y="310810"/>
                  </a:cubicBezTo>
                  <a:lnTo>
                    <a:pt x="281451" y="288561"/>
                  </a:lnTo>
                  <a:lnTo>
                    <a:pt x="285755" y="252962"/>
                  </a:lnTo>
                  <a:lnTo>
                    <a:pt x="276685" y="239459"/>
                  </a:lnTo>
                  <a:cubicBezTo>
                    <a:pt x="274994" y="236544"/>
                    <a:pt x="275302" y="232861"/>
                    <a:pt x="277761" y="230253"/>
                  </a:cubicBezTo>
                  <a:cubicBezTo>
                    <a:pt x="279299" y="228565"/>
                    <a:pt x="281451" y="227644"/>
                    <a:pt x="283757" y="227644"/>
                  </a:cubicBezTo>
                  <a:close/>
                  <a:moveTo>
                    <a:pt x="243694" y="226776"/>
                  </a:moveTo>
                  <a:cubicBezTo>
                    <a:pt x="245999" y="226776"/>
                    <a:pt x="248150" y="228157"/>
                    <a:pt x="248918" y="230304"/>
                  </a:cubicBezTo>
                  <a:lnTo>
                    <a:pt x="285947" y="331870"/>
                  </a:lnTo>
                  <a:cubicBezTo>
                    <a:pt x="288098" y="337700"/>
                    <a:pt x="296395" y="337700"/>
                    <a:pt x="298546" y="331870"/>
                  </a:cubicBezTo>
                  <a:lnTo>
                    <a:pt x="335575" y="230304"/>
                  </a:lnTo>
                  <a:cubicBezTo>
                    <a:pt x="336651" y="227543"/>
                    <a:pt x="339570" y="226162"/>
                    <a:pt x="342336" y="226929"/>
                  </a:cubicBezTo>
                  <a:lnTo>
                    <a:pt x="360005" y="232299"/>
                  </a:lnTo>
                  <a:lnTo>
                    <a:pt x="360005" y="232452"/>
                  </a:lnTo>
                  <a:cubicBezTo>
                    <a:pt x="382438" y="239663"/>
                    <a:pt x="397495" y="260528"/>
                    <a:pt x="397495" y="284002"/>
                  </a:cubicBezTo>
                  <a:lnTo>
                    <a:pt x="397495" y="391704"/>
                  </a:lnTo>
                  <a:cubicBezTo>
                    <a:pt x="397495" y="392778"/>
                    <a:pt x="397188" y="393852"/>
                    <a:pt x="396573" y="394619"/>
                  </a:cubicBezTo>
                  <a:lnTo>
                    <a:pt x="358008" y="453379"/>
                  </a:lnTo>
                  <a:lnTo>
                    <a:pt x="358008" y="602045"/>
                  </a:lnTo>
                  <a:cubicBezTo>
                    <a:pt x="358008" y="605113"/>
                    <a:pt x="355549" y="607568"/>
                    <a:pt x="352476" y="607568"/>
                  </a:cubicBezTo>
                  <a:lnTo>
                    <a:pt x="232017" y="607568"/>
                  </a:lnTo>
                  <a:cubicBezTo>
                    <a:pt x="228944" y="607568"/>
                    <a:pt x="226485" y="605113"/>
                    <a:pt x="226485" y="602045"/>
                  </a:cubicBezTo>
                  <a:lnTo>
                    <a:pt x="226485" y="453379"/>
                  </a:lnTo>
                  <a:lnTo>
                    <a:pt x="187920" y="394619"/>
                  </a:lnTo>
                  <a:cubicBezTo>
                    <a:pt x="187305" y="393852"/>
                    <a:pt x="186998" y="392778"/>
                    <a:pt x="186998" y="391704"/>
                  </a:cubicBezTo>
                  <a:lnTo>
                    <a:pt x="186998" y="284309"/>
                  </a:lnTo>
                  <a:cubicBezTo>
                    <a:pt x="186998" y="260682"/>
                    <a:pt x="202055" y="239817"/>
                    <a:pt x="224488" y="232299"/>
                  </a:cubicBezTo>
                  <a:cubicBezTo>
                    <a:pt x="224488" y="232299"/>
                    <a:pt x="243233" y="226776"/>
                    <a:pt x="243694" y="226776"/>
                  </a:cubicBezTo>
                  <a:close/>
                  <a:moveTo>
                    <a:pt x="503026" y="160466"/>
                  </a:moveTo>
                  <a:cubicBezTo>
                    <a:pt x="529508" y="160466"/>
                    <a:pt x="550975" y="181870"/>
                    <a:pt x="550975" y="208274"/>
                  </a:cubicBezTo>
                  <a:cubicBezTo>
                    <a:pt x="550975" y="234678"/>
                    <a:pt x="529508" y="256082"/>
                    <a:pt x="503026" y="256082"/>
                  </a:cubicBezTo>
                  <a:cubicBezTo>
                    <a:pt x="476544" y="256082"/>
                    <a:pt x="455077" y="234678"/>
                    <a:pt x="455077" y="208274"/>
                  </a:cubicBezTo>
                  <a:cubicBezTo>
                    <a:pt x="455077" y="181870"/>
                    <a:pt x="476544" y="160466"/>
                    <a:pt x="503026" y="160466"/>
                  </a:cubicBezTo>
                  <a:close/>
                  <a:moveTo>
                    <a:pt x="81397" y="160466"/>
                  </a:moveTo>
                  <a:cubicBezTo>
                    <a:pt x="107879" y="160466"/>
                    <a:pt x="129346" y="181870"/>
                    <a:pt x="129346" y="208274"/>
                  </a:cubicBezTo>
                  <a:cubicBezTo>
                    <a:pt x="129346" y="234678"/>
                    <a:pt x="107879" y="256082"/>
                    <a:pt x="81397" y="256082"/>
                  </a:cubicBezTo>
                  <a:cubicBezTo>
                    <a:pt x="54915" y="256082"/>
                    <a:pt x="33448" y="234678"/>
                    <a:pt x="33448" y="208274"/>
                  </a:cubicBezTo>
                  <a:cubicBezTo>
                    <a:pt x="33448" y="181870"/>
                    <a:pt x="54915" y="160466"/>
                    <a:pt x="81397" y="160466"/>
                  </a:cubicBezTo>
                  <a:close/>
                  <a:moveTo>
                    <a:pt x="292212" y="79174"/>
                  </a:moveTo>
                  <a:cubicBezTo>
                    <a:pt x="326313" y="79174"/>
                    <a:pt x="353957" y="106786"/>
                    <a:pt x="353957" y="140848"/>
                  </a:cubicBezTo>
                  <a:cubicBezTo>
                    <a:pt x="353957" y="174910"/>
                    <a:pt x="326313" y="202522"/>
                    <a:pt x="292212" y="202522"/>
                  </a:cubicBezTo>
                  <a:cubicBezTo>
                    <a:pt x="258111" y="202522"/>
                    <a:pt x="230467" y="174910"/>
                    <a:pt x="230467" y="140848"/>
                  </a:cubicBezTo>
                  <a:cubicBezTo>
                    <a:pt x="230467" y="106786"/>
                    <a:pt x="258111" y="79174"/>
                    <a:pt x="292212" y="79174"/>
                  </a:cubicBezTo>
                  <a:close/>
                  <a:moveTo>
                    <a:pt x="292212" y="0"/>
                  </a:moveTo>
                  <a:cubicBezTo>
                    <a:pt x="376247" y="0"/>
                    <a:pt x="453677" y="38346"/>
                    <a:pt x="504683" y="105068"/>
                  </a:cubicBezTo>
                  <a:cubicBezTo>
                    <a:pt x="509906" y="111817"/>
                    <a:pt x="508523" y="121481"/>
                    <a:pt x="501764" y="126542"/>
                  </a:cubicBezTo>
                  <a:cubicBezTo>
                    <a:pt x="498998" y="128690"/>
                    <a:pt x="495772" y="129610"/>
                    <a:pt x="492546" y="129610"/>
                  </a:cubicBezTo>
                  <a:cubicBezTo>
                    <a:pt x="487937" y="129610"/>
                    <a:pt x="483328" y="127616"/>
                    <a:pt x="480409" y="123628"/>
                  </a:cubicBezTo>
                  <a:cubicBezTo>
                    <a:pt x="435088" y="64575"/>
                    <a:pt x="366569" y="30677"/>
                    <a:pt x="292212" y="30677"/>
                  </a:cubicBezTo>
                  <a:cubicBezTo>
                    <a:pt x="217854" y="30677"/>
                    <a:pt x="149335" y="64575"/>
                    <a:pt x="104014" y="123628"/>
                  </a:cubicBezTo>
                  <a:cubicBezTo>
                    <a:pt x="98944" y="130377"/>
                    <a:pt x="89265" y="131604"/>
                    <a:pt x="82659" y="126542"/>
                  </a:cubicBezTo>
                  <a:cubicBezTo>
                    <a:pt x="75900" y="121481"/>
                    <a:pt x="74517" y="111817"/>
                    <a:pt x="79740" y="105068"/>
                  </a:cubicBezTo>
                  <a:cubicBezTo>
                    <a:pt x="130746" y="38346"/>
                    <a:pt x="208176" y="0"/>
                    <a:pt x="2922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9" name="iṧľïḍe">
              <a:extLst>
                <a:ext uri="{FF2B5EF4-FFF2-40B4-BE49-F238E27FC236}">
                  <a16:creationId xmlns:a16="http://schemas.microsoft.com/office/drawing/2014/main" id="{C9FA3E4C-1DAB-44CD-BE03-D6EF9CB1B87C}"/>
                </a:ext>
              </a:extLst>
            </p:cNvPr>
            <p:cNvSpPr/>
            <p:nvPr/>
          </p:nvSpPr>
          <p:spPr bwMode="auto">
            <a:xfrm>
              <a:off x="6092902" y="4799986"/>
              <a:ext cx="519749" cy="565570"/>
            </a:xfrm>
            <a:custGeom>
              <a:avLst/>
              <a:gdLst>
                <a:gd name="T0" fmla="*/ 2801 w 7564"/>
                <a:gd name="T1" fmla="*/ 3001 h 8244"/>
                <a:gd name="T2" fmla="*/ 2187 w 7564"/>
                <a:gd name="T3" fmla="*/ 3778 h 8244"/>
                <a:gd name="T4" fmla="*/ 1795 w 7564"/>
                <a:gd name="T5" fmla="*/ 3778 h 8244"/>
                <a:gd name="T6" fmla="*/ 1267 w 7564"/>
                <a:gd name="T7" fmla="*/ 3393 h 8244"/>
                <a:gd name="T8" fmla="*/ 1393 w 7564"/>
                <a:gd name="T9" fmla="*/ 3013 h 8244"/>
                <a:gd name="T10" fmla="*/ 2052 w 7564"/>
                <a:gd name="T11" fmla="*/ 3240 h 8244"/>
                <a:gd name="T12" fmla="*/ 2349 w 7564"/>
                <a:gd name="T13" fmla="*/ 3039 h 8244"/>
                <a:gd name="T14" fmla="*/ 1249 w 7564"/>
                <a:gd name="T15" fmla="*/ 2145 h 8244"/>
                <a:gd name="T16" fmla="*/ 1794 w 7564"/>
                <a:gd name="T17" fmla="*/ 1535 h 8244"/>
                <a:gd name="T18" fmla="*/ 1990 w 7564"/>
                <a:gd name="T19" fmla="*/ 1184 h 8244"/>
                <a:gd name="T20" fmla="*/ 2187 w 7564"/>
                <a:gd name="T21" fmla="*/ 1536 h 8244"/>
                <a:gd name="T22" fmla="*/ 2727 w 7564"/>
                <a:gd name="T23" fmla="*/ 1880 h 8244"/>
                <a:gd name="T24" fmla="*/ 2400 w 7564"/>
                <a:gd name="T25" fmla="*/ 2057 h 8244"/>
                <a:gd name="T26" fmla="*/ 1700 w 7564"/>
                <a:gd name="T27" fmla="*/ 2098 h 8244"/>
                <a:gd name="T28" fmla="*/ 2145 w 7564"/>
                <a:gd name="T29" fmla="*/ 2376 h 8244"/>
                <a:gd name="T30" fmla="*/ 4577 w 7564"/>
                <a:gd name="T31" fmla="*/ 8008 h 8244"/>
                <a:gd name="T32" fmla="*/ 0 w 7564"/>
                <a:gd name="T33" fmla="*/ 6925 h 8244"/>
                <a:gd name="T34" fmla="*/ 1082 w 7564"/>
                <a:gd name="T35" fmla="*/ 0 h 8244"/>
                <a:gd name="T36" fmla="*/ 6103 w 7564"/>
                <a:gd name="T37" fmla="*/ 1083 h 8244"/>
                <a:gd name="T38" fmla="*/ 6065 w 7564"/>
                <a:gd name="T39" fmla="*/ 3821 h 8244"/>
                <a:gd name="T40" fmla="*/ 5450 w 7564"/>
                <a:gd name="T41" fmla="*/ 3823 h 8244"/>
                <a:gd name="T42" fmla="*/ 5180 w 7564"/>
                <a:gd name="T43" fmla="*/ 1083 h 8244"/>
                <a:gd name="T44" fmla="*/ 1082 w 7564"/>
                <a:gd name="T45" fmla="*/ 923 h 8244"/>
                <a:gd name="T46" fmla="*/ 923 w 7564"/>
                <a:gd name="T47" fmla="*/ 6439 h 8244"/>
                <a:gd name="T48" fmla="*/ 3636 w 7564"/>
                <a:gd name="T49" fmla="*/ 6598 h 8244"/>
                <a:gd name="T50" fmla="*/ 4316 w 7564"/>
                <a:gd name="T51" fmla="*/ 7443 h 8244"/>
                <a:gd name="T52" fmla="*/ 4577 w 7564"/>
                <a:gd name="T53" fmla="*/ 8008 h 8244"/>
                <a:gd name="T54" fmla="*/ 3051 w 7564"/>
                <a:gd name="T55" fmla="*/ 6925 h 8244"/>
                <a:gd name="T56" fmla="*/ 3051 w 7564"/>
                <a:gd name="T57" fmla="*/ 7667 h 8244"/>
                <a:gd name="T58" fmla="*/ 7261 w 7564"/>
                <a:gd name="T59" fmla="*/ 6211 h 8244"/>
                <a:gd name="T60" fmla="*/ 7100 w 7564"/>
                <a:gd name="T61" fmla="*/ 7429 h 8244"/>
                <a:gd name="T62" fmla="*/ 4657 w 7564"/>
                <a:gd name="T63" fmla="*/ 7779 h 8244"/>
                <a:gd name="T64" fmla="*/ 4486 w 7564"/>
                <a:gd name="T65" fmla="*/ 6894 h 8244"/>
                <a:gd name="T66" fmla="*/ 2877 w 7564"/>
                <a:gd name="T67" fmla="*/ 5307 h 8244"/>
                <a:gd name="T68" fmla="*/ 3717 w 7564"/>
                <a:gd name="T69" fmla="*/ 5193 h 8244"/>
                <a:gd name="T70" fmla="*/ 3549 w 7564"/>
                <a:gd name="T71" fmla="*/ 3186 h 8244"/>
                <a:gd name="T72" fmla="*/ 4702 w 7564"/>
                <a:gd name="T73" fmla="*/ 4337 h 8244"/>
                <a:gd name="T74" fmla="*/ 5995 w 7564"/>
                <a:gd name="T75" fmla="*/ 3992 h 8244"/>
                <a:gd name="T76" fmla="*/ 6783 w 7564"/>
                <a:gd name="T77" fmla="*/ 5408 h 8244"/>
                <a:gd name="T78" fmla="*/ 7261 w 7564"/>
                <a:gd name="T79" fmla="*/ 6211 h 8244"/>
                <a:gd name="T80" fmla="*/ 6508 w 7564"/>
                <a:gd name="T81" fmla="*/ 6358 h 8244"/>
                <a:gd name="T82" fmla="*/ 6798 w 7564"/>
                <a:gd name="T83" fmla="*/ 7052 h 8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564" h="8244">
                  <a:moveTo>
                    <a:pt x="2801" y="2995"/>
                  </a:moveTo>
                  <a:lnTo>
                    <a:pt x="2801" y="3001"/>
                  </a:lnTo>
                  <a:cubicBezTo>
                    <a:pt x="2801" y="3365"/>
                    <a:pt x="2554" y="3586"/>
                    <a:pt x="2187" y="3632"/>
                  </a:cubicBezTo>
                  <a:lnTo>
                    <a:pt x="2187" y="3778"/>
                  </a:lnTo>
                  <a:cubicBezTo>
                    <a:pt x="2187" y="3886"/>
                    <a:pt x="2099" y="3974"/>
                    <a:pt x="1991" y="3974"/>
                  </a:cubicBezTo>
                  <a:cubicBezTo>
                    <a:pt x="1882" y="3974"/>
                    <a:pt x="1795" y="3886"/>
                    <a:pt x="1795" y="3778"/>
                  </a:cubicBezTo>
                  <a:lnTo>
                    <a:pt x="1795" y="3616"/>
                  </a:lnTo>
                  <a:cubicBezTo>
                    <a:pt x="1608" y="3580"/>
                    <a:pt x="1427" y="3508"/>
                    <a:pt x="1267" y="3393"/>
                  </a:cubicBezTo>
                  <a:cubicBezTo>
                    <a:pt x="1217" y="3358"/>
                    <a:pt x="1181" y="3293"/>
                    <a:pt x="1181" y="3222"/>
                  </a:cubicBezTo>
                  <a:cubicBezTo>
                    <a:pt x="1181" y="3104"/>
                    <a:pt x="1276" y="3013"/>
                    <a:pt x="1393" y="3013"/>
                  </a:cubicBezTo>
                  <a:cubicBezTo>
                    <a:pt x="1453" y="3013"/>
                    <a:pt x="1494" y="3033"/>
                    <a:pt x="1523" y="3054"/>
                  </a:cubicBezTo>
                  <a:cubicBezTo>
                    <a:pt x="1680" y="3169"/>
                    <a:pt x="1851" y="3240"/>
                    <a:pt x="2052" y="3240"/>
                  </a:cubicBezTo>
                  <a:cubicBezTo>
                    <a:pt x="2237" y="3240"/>
                    <a:pt x="2349" y="3166"/>
                    <a:pt x="2349" y="3045"/>
                  </a:cubicBezTo>
                  <a:lnTo>
                    <a:pt x="2349" y="3039"/>
                  </a:lnTo>
                  <a:cubicBezTo>
                    <a:pt x="2349" y="2924"/>
                    <a:pt x="2278" y="2866"/>
                    <a:pt x="1933" y="2777"/>
                  </a:cubicBezTo>
                  <a:cubicBezTo>
                    <a:pt x="1517" y="2671"/>
                    <a:pt x="1249" y="2556"/>
                    <a:pt x="1249" y="2145"/>
                  </a:cubicBezTo>
                  <a:lnTo>
                    <a:pt x="1249" y="2139"/>
                  </a:lnTo>
                  <a:cubicBezTo>
                    <a:pt x="1249" y="1820"/>
                    <a:pt x="1469" y="1595"/>
                    <a:pt x="1794" y="1535"/>
                  </a:cubicBezTo>
                  <a:lnTo>
                    <a:pt x="1794" y="1381"/>
                  </a:lnTo>
                  <a:cubicBezTo>
                    <a:pt x="1794" y="1272"/>
                    <a:pt x="1882" y="1184"/>
                    <a:pt x="1990" y="1184"/>
                  </a:cubicBezTo>
                  <a:cubicBezTo>
                    <a:pt x="2099" y="1184"/>
                    <a:pt x="2187" y="1272"/>
                    <a:pt x="2187" y="1381"/>
                  </a:cubicBezTo>
                  <a:lnTo>
                    <a:pt x="2187" y="1536"/>
                  </a:lnTo>
                  <a:cubicBezTo>
                    <a:pt x="2349" y="1563"/>
                    <a:pt x="2496" y="1617"/>
                    <a:pt x="2626" y="1700"/>
                  </a:cubicBezTo>
                  <a:cubicBezTo>
                    <a:pt x="2677" y="1729"/>
                    <a:pt x="2727" y="1791"/>
                    <a:pt x="2727" y="1880"/>
                  </a:cubicBezTo>
                  <a:cubicBezTo>
                    <a:pt x="2727" y="1998"/>
                    <a:pt x="2632" y="2090"/>
                    <a:pt x="2514" y="2090"/>
                  </a:cubicBezTo>
                  <a:cubicBezTo>
                    <a:pt x="2470" y="2090"/>
                    <a:pt x="2435" y="2078"/>
                    <a:pt x="2400" y="2057"/>
                  </a:cubicBezTo>
                  <a:cubicBezTo>
                    <a:pt x="2249" y="1969"/>
                    <a:pt x="2107" y="1918"/>
                    <a:pt x="1965" y="1918"/>
                  </a:cubicBezTo>
                  <a:cubicBezTo>
                    <a:pt x="1791" y="1918"/>
                    <a:pt x="1700" y="1998"/>
                    <a:pt x="1700" y="2098"/>
                  </a:cubicBezTo>
                  <a:lnTo>
                    <a:pt x="1700" y="2104"/>
                  </a:lnTo>
                  <a:cubicBezTo>
                    <a:pt x="1700" y="2240"/>
                    <a:pt x="1788" y="2284"/>
                    <a:pt x="2145" y="2376"/>
                  </a:cubicBezTo>
                  <a:cubicBezTo>
                    <a:pt x="2564" y="2485"/>
                    <a:pt x="2801" y="2635"/>
                    <a:pt x="2801" y="2995"/>
                  </a:cubicBezTo>
                  <a:close/>
                  <a:moveTo>
                    <a:pt x="4577" y="8008"/>
                  </a:moveTo>
                  <a:lnTo>
                    <a:pt x="1082" y="8008"/>
                  </a:lnTo>
                  <a:cubicBezTo>
                    <a:pt x="485" y="8008"/>
                    <a:pt x="0" y="7522"/>
                    <a:pt x="0" y="6925"/>
                  </a:cubicBezTo>
                  <a:lnTo>
                    <a:pt x="0" y="1083"/>
                  </a:lnTo>
                  <a:cubicBezTo>
                    <a:pt x="0" y="486"/>
                    <a:pt x="485" y="0"/>
                    <a:pt x="1082" y="0"/>
                  </a:cubicBezTo>
                  <a:lnTo>
                    <a:pt x="5020" y="0"/>
                  </a:lnTo>
                  <a:cubicBezTo>
                    <a:pt x="5617" y="0"/>
                    <a:pt x="6103" y="486"/>
                    <a:pt x="6103" y="1083"/>
                  </a:cubicBezTo>
                  <a:lnTo>
                    <a:pt x="6103" y="3841"/>
                  </a:lnTo>
                  <a:cubicBezTo>
                    <a:pt x="6090" y="3835"/>
                    <a:pt x="6078" y="3827"/>
                    <a:pt x="6065" y="3821"/>
                  </a:cubicBezTo>
                  <a:cubicBezTo>
                    <a:pt x="5968" y="3781"/>
                    <a:pt x="5865" y="3761"/>
                    <a:pt x="5760" y="3761"/>
                  </a:cubicBezTo>
                  <a:cubicBezTo>
                    <a:pt x="5653" y="3761"/>
                    <a:pt x="5548" y="3782"/>
                    <a:pt x="5450" y="3823"/>
                  </a:cubicBezTo>
                  <a:lnTo>
                    <a:pt x="5180" y="3936"/>
                  </a:lnTo>
                  <a:lnTo>
                    <a:pt x="5180" y="1083"/>
                  </a:lnTo>
                  <a:cubicBezTo>
                    <a:pt x="5180" y="995"/>
                    <a:pt x="5108" y="923"/>
                    <a:pt x="5020" y="923"/>
                  </a:cubicBezTo>
                  <a:lnTo>
                    <a:pt x="1082" y="923"/>
                  </a:lnTo>
                  <a:cubicBezTo>
                    <a:pt x="994" y="923"/>
                    <a:pt x="923" y="995"/>
                    <a:pt x="923" y="1083"/>
                  </a:cubicBezTo>
                  <a:lnTo>
                    <a:pt x="923" y="6439"/>
                  </a:lnTo>
                  <a:cubicBezTo>
                    <a:pt x="923" y="6527"/>
                    <a:pt x="995" y="6598"/>
                    <a:pt x="1082" y="6598"/>
                  </a:cubicBezTo>
                  <a:lnTo>
                    <a:pt x="3636" y="6598"/>
                  </a:lnTo>
                  <a:lnTo>
                    <a:pt x="4269" y="6978"/>
                  </a:lnTo>
                  <a:cubicBezTo>
                    <a:pt x="4238" y="7133"/>
                    <a:pt x="4254" y="7294"/>
                    <a:pt x="4316" y="7443"/>
                  </a:cubicBezTo>
                  <a:lnTo>
                    <a:pt x="4487" y="7851"/>
                  </a:lnTo>
                  <a:cubicBezTo>
                    <a:pt x="4511" y="7908"/>
                    <a:pt x="4542" y="7959"/>
                    <a:pt x="4577" y="8008"/>
                  </a:cubicBezTo>
                  <a:close/>
                  <a:moveTo>
                    <a:pt x="3423" y="7296"/>
                  </a:moveTo>
                  <a:cubicBezTo>
                    <a:pt x="3423" y="7091"/>
                    <a:pt x="3257" y="6925"/>
                    <a:pt x="3051" y="6925"/>
                  </a:cubicBezTo>
                  <a:cubicBezTo>
                    <a:pt x="2846" y="6925"/>
                    <a:pt x="2680" y="7091"/>
                    <a:pt x="2680" y="7296"/>
                  </a:cubicBezTo>
                  <a:cubicBezTo>
                    <a:pt x="2680" y="7501"/>
                    <a:pt x="2846" y="7667"/>
                    <a:pt x="3051" y="7667"/>
                  </a:cubicBezTo>
                  <a:cubicBezTo>
                    <a:pt x="3257" y="7667"/>
                    <a:pt x="3423" y="7501"/>
                    <a:pt x="3423" y="7296"/>
                  </a:cubicBezTo>
                  <a:close/>
                  <a:moveTo>
                    <a:pt x="7261" y="6211"/>
                  </a:moveTo>
                  <a:lnTo>
                    <a:pt x="7432" y="6619"/>
                  </a:lnTo>
                  <a:cubicBezTo>
                    <a:pt x="7564" y="6934"/>
                    <a:pt x="7416" y="7297"/>
                    <a:pt x="7100" y="7429"/>
                  </a:cubicBezTo>
                  <a:lnTo>
                    <a:pt x="5467" y="8112"/>
                  </a:lnTo>
                  <a:cubicBezTo>
                    <a:pt x="5152" y="8244"/>
                    <a:pt x="4789" y="8095"/>
                    <a:pt x="4657" y="7779"/>
                  </a:cubicBezTo>
                  <a:lnTo>
                    <a:pt x="4486" y="7371"/>
                  </a:lnTo>
                  <a:cubicBezTo>
                    <a:pt x="4420" y="7212"/>
                    <a:pt x="4425" y="7041"/>
                    <a:pt x="4486" y="6894"/>
                  </a:cubicBezTo>
                  <a:lnTo>
                    <a:pt x="3058" y="6036"/>
                  </a:lnTo>
                  <a:cubicBezTo>
                    <a:pt x="2807" y="5884"/>
                    <a:pt x="2726" y="5559"/>
                    <a:pt x="2877" y="5307"/>
                  </a:cubicBezTo>
                  <a:cubicBezTo>
                    <a:pt x="3027" y="5056"/>
                    <a:pt x="3354" y="4975"/>
                    <a:pt x="3605" y="5126"/>
                  </a:cubicBezTo>
                  <a:lnTo>
                    <a:pt x="3717" y="5193"/>
                  </a:lnTo>
                  <a:lnTo>
                    <a:pt x="3216" y="3997"/>
                  </a:lnTo>
                  <a:cubicBezTo>
                    <a:pt x="3085" y="3681"/>
                    <a:pt x="3233" y="3318"/>
                    <a:pt x="3549" y="3186"/>
                  </a:cubicBezTo>
                  <a:cubicBezTo>
                    <a:pt x="3865" y="3054"/>
                    <a:pt x="4227" y="3203"/>
                    <a:pt x="4359" y="3519"/>
                  </a:cubicBezTo>
                  <a:lnTo>
                    <a:pt x="4702" y="4337"/>
                  </a:lnTo>
                  <a:lnTo>
                    <a:pt x="5521" y="3994"/>
                  </a:lnTo>
                  <a:cubicBezTo>
                    <a:pt x="5672" y="3931"/>
                    <a:pt x="5843" y="3930"/>
                    <a:pt x="5995" y="3992"/>
                  </a:cubicBezTo>
                  <a:cubicBezTo>
                    <a:pt x="6147" y="4055"/>
                    <a:pt x="6268" y="4175"/>
                    <a:pt x="6331" y="4326"/>
                  </a:cubicBezTo>
                  <a:lnTo>
                    <a:pt x="6783" y="5408"/>
                  </a:lnTo>
                  <a:cubicBezTo>
                    <a:pt x="6843" y="5552"/>
                    <a:pt x="6843" y="5704"/>
                    <a:pt x="6797" y="5841"/>
                  </a:cubicBezTo>
                  <a:cubicBezTo>
                    <a:pt x="6998" y="5876"/>
                    <a:pt x="7177" y="6009"/>
                    <a:pt x="7261" y="6211"/>
                  </a:cubicBezTo>
                  <a:close/>
                  <a:moveTo>
                    <a:pt x="7000" y="6560"/>
                  </a:moveTo>
                  <a:cubicBezTo>
                    <a:pt x="6920" y="6368"/>
                    <a:pt x="6699" y="6278"/>
                    <a:pt x="6508" y="6358"/>
                  </a:cubicBezTo>
                  <a:cubicBezTo>
                    <a:pt x="6316" y="6438"/>
                    <a:pt x="6226" y="6658"/>
                    <a:pt x="6306" y="6850"/>
                  </a:cubicBezTo>
                  <a:cubicBezTo>
                    <a:pt x="6386" y="7042"/>
                    <a:pt x="6606" y="7132"/>
                    <a:pt x="6798" y="7052"/>
                  </a:cubicBezTo>
                  <a:cubicBezTo>
                    <a:pt x="6990" y="6972"/>
                    <a:pt x="7080" y="6751"/>
                    <a:pt x="7000" y="656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3440333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拓展方法、</a:t>
            </a:r>
            <a:r>
              <a:rPr lang="en-US" altLang="zh-CN" dirty="0" smtClean="0"/>
              <a:t>LINQ</a:t>
            </a:r>
            <a:r>
              <a:rPr lang="zh-CN" altLang="en-US" dirty="0" smtClean="0"/>
              <a:t>与函数式编程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4" y="1400175"/>
            <a:ext cx="532130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对于获得的数据，我将对语句的</a:t>
            </a:r>
            <a:r>
              <a:rPr lang="en-US" altLang="zh-CN" b="1" dirty="0" smtClean="0"/>
              <a:t>Token</a:t>
            </a:r>
            <a:r>
              <a:rPr lang="zh-CN" altLang="en-US" dirty="0" smtClean="0"/>
              <a:t>进行预处理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这里使用了</a:t>
            </a:r>
            <a:r>
              <a:rPr lang="zh-CN" altLang="en-US" b="1" dirty="0" smtClean="0"/>
              <a:t>函数式编程</a:t>
            </a:r>
            <a:r>
              <a:rPr lang="zh-CN" altLang="en-US" dirty="0" smtClean="0"/>
              <a:t>的思想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大部分数据的处理无非是两种操作</a:t>
            </a:r>
            <a:r>
              <a:rPr lang="en-US" altLang="zh-CN" dirty="0" smtClean="0"/>
              <a:t>——</a:t>
            </a:r>
            <a:r>
              <a:rPr lang="zh-CN" altLang="en-US" b="1" dirty="0" smtClean="0"/>
              <a:t>映射</a:t>
            </a:r>
            <a:r>
              <a:rPr lang="zh-CN" altLang="en-US" dirty="0" smtClean="0"/>
              <a:t>（</a:t>
            </a:r>
            <a:r>
              <a:rPr lang="en-US" altLang="zh-CN" dirty="0" smtClean="0"/>
              <a:t>Mapping</a:t>
            </a:r>
            <a:r>
              <a:rPr lang="zh-CN" altLang="en-US" dirty="0" smtClean="0"/>
              <a:t>）和</a:t>
            </a:r>
            <a:r>
              <a:rPr lang="zh-CN" altLang="en-US" b="1" dirty="0" smtClean="0"/>
              <a:t>聚合</a:t>
            </a:r>
            <a:r>
              <a:rPr lang="zh-CN" altLang="en-US" dirty="0" smtClean="0"/>
              <a:t>（</a:t>
            </a:r>
            <a:r>
              <a:rPr lang="en-US" altLang="zh-CN" dirty="0" err="1" smtClean="0"/>
              <a:t>Aggregrating</a:t>
            </a:r>
            <a:r>
              <a:rPr lang="en-US" altLang="zh-CN" dirty="0" smtClean="0"/>
              <a:t>/Reducing</a:t>
            </a:r>
            <a:r>
              <a:rPr lang="zh-CN" altLang="en-US" dirty="0" smtClean="0"/>
              <a:t>）。这两种操作都可以进行</a:t>
            </a:r>
            <a:r>
              <a:rPr lang="zh-CN" altLang="en-US" b="1" dirty="0" smtClean="0"/>
              <a:t>函数化</a:t>
            </a:r>
            <a:r>
              <a:rPr lang="zh-CN" altLang="en-US" dirty="0" smtClean="0"/>
              <a:t>，即通过一个</a:t>
            </a:r>
            <a:r>
              <a:rPr lang="zh-CN" altLang="en-US" b="1" dirty="0" smtClean="0"/>
              <a:t>无外部影响</a:t>
            </a:r>
            <a:r>
              <a:rPr lang="zh-CN" altLang="en-US" dirty="0" smtClean="0"/>
              <a:t>的函数进行完成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这里介绍</a:t>
            </a:r>
            <a:r>
              <a:rPr lang="en-US" altLang="zh-CN" dirty="0"/>
              <a:t>LINQ: </a:t>
            </a:r>
            <a:r>
              <a:rPr lang="en-US" altLang="zh-CN" b="1" dirty="0"/>
              <a:t>LINQ</a:t>
            </a:r>
            <a:r>
              <a:rPr lang="zh-CN" altLang="en-US" dirty="0"/>
              <a:t>（</a:t>
            </a:r>
            <a:r>
              <a:rPr lang="en-US" altLang="zh-CN" dirty="0"/>
              <a:t>Language Integrated Query</a:t>
            </a:r>
            <a:r>
              <a:rPr lang="zh-CN" altLang="en-US" dirty="0"/>
              <a:t>）语言集成查询是一组</a:t>
            </a:r>
            <a:r>
              <a:rPr lang="zh-CN" altLang="en-US" dirty="0" smtClean="0"/>
              <a:t>用于</a:t>
            </a:r>
            <a:r>
              <a:rPr lang="en-US" altLang="zh-CN" dirty="0" smtClean="0"/>
              <a:t>C#</a:t>
            </a:r>
            <a:r>
              <a:rPr lang="zh-CN" altLang="en-US" dirty="0" smtClean="0"/>
              <a:t>语言扩展</a:t>
            </a:r>
            <a:r>
              <a:rPr lang="zh-CN" altLang="en-US" dirty="0"/>
              <a:t>。它允许编写</a:t>
            </a:r>
            <a:r>
              <a:rPr lang="en-US" altLang="zh-CN" dirty="0"/>
              <a:t>C</a:t>
            </a:r>
            <a:r>
              <a:rPr lang="en-US" altLang="zh-CN" dirty="0" smtClean="0"/>
              <a:t>#</a:t>
            </a:r>
            <a:r>
              <a:rPr lang="zh-CN" altLang="en-US" dirty="0" smtClean="0"/>
              <a:t>代码</a:t>
            </a:r>
            <a:r>
              <a:rPr lang="zh-CN" altLang="en-US" dirty="0"/>
              <a:t>以操作内存数据的方式，查询数据库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/>
              <a:t>本</a:t>
            </a:r>
            <a:r>
              <a:rPr lang="zh-CN" altLang="en-US" dirty="0" smtClean="0"/>
              <a:t>项目通过</a:t>
            </a:r>
            <a:r>
              <a:rPr lang="en-US" altLang="zh-CN" dirty="0" smtClean="0"/>
              <a:t>C#</a:t>
            </a:r>
            <a:r>
              <a:rPr lang="zh-CN" altLang="en-US" dirty="0" smtClean="0"/>
              <a:t>的语言特性</a:t>
            </a:r>
            <a:r>
              <a:rPr lang="en-US" altLang="zh-CN" dirty="0" smtClean="0"/>
              <a:t>——</a:t>
            </a:r>
            <a:r>
              <a:rPr lang="zh-CN" altLang="en-US" b="1" dirty="0" smtClean="0"/>
              <a:t>拓展方法</a:t>
            </a:r>
            <a:r>
              <a:rPr lang="zh-CN" altLang="en-US" dirty="0" smtClean="0"/>
              <a:t>拓展了原有的处理函数，添加了一个</a:t>
            </a:r>
            <a:r>
              <a:rPr lang="zh-CN" altLang="en-US" b="1" dirty="0" smtClean="0"/>
              <a:t>分割列表</a:t>
            </a:r>
            <a:r>
              <a:rPr lang="zh-CN" altLang="en-US" dirty="0" smtClean="0"/>
              <a:t>用的功能。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4125" y="1400175"/>
            <a:ext cx="4743450" cy="14382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3175" y="3178806"/>
            <a:ext cx="4724400" cy="3061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127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系统功能（</a:t>
            </a:r>
            <a:r>
              <a:rPr lang="en-US" altLang="zh-CN" sz="4800" dirty="0" smtClean="0"/>
              <a:t>Demo</a:t>
            </a:r>
            <a:r>
              <a:rPr lang="zh-CN" altLang="en-US" sz="4800" dirty="0" smtClean="0"/>
              <a:t>）</a:t>
            </a:r>
            <a:endParaRPr lang="zh-CN" altLang="en-US" sz="4800" dirty="0"/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1EF15F11-43C9-46B4-A251-6E6BFF17E647}"/>
              </a:ext>
            </a:extLst>
          </p:cNvPr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60787578-92C1-4BF2-89D1-8ECE42FF765C}"/>
              </a:ext>
            </a:extLst>
          </p:cNvPr>
          <p:cNvCxnSpPr>
            <a:cxnSpLocks/>
          </p:cNvCxnSpPr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>
            <a:extLst>
              <a:ext uri="{FF2B5EF4-FFF2-40B4-BE49-F238E27FC236}">
                <a16:creationId xmlns:a16="http://schemas.microsoft.com/office/drawing/2014/main" id="{309F3FF9-E043-4B12-ADA3-E580F73A9191}"/>
              </a:ext>
            </a:extLst>
          </p:cNvPr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D57D805-4545-4C42-A553-3B1CB655C465}"/>
                </a:ext>
              </a:extLst>
            </p:cNvPr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33E383B-784A-4CFC-8B9B-10CAE15FC541}"/>
                </a:ext>
              </a:extLst>
            </p:cNvPr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D8A1CC8A-F4DE-4605-9782-7C05DB5F551E}"/>
                </a:ext>
              </a:extLst>
            </p:cNvPr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CC7B58F-FDC2-4175-A147-3BDB2D456081}"/>
                </a:ext>
              </a:extLst>
            </p:cNvPr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43074D3-95FC-445F-9F89-2FD7C5DC0F5A}"/>
                </a:ext>
              </a:extLst>
            </p:cNvPr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D3DC055-74BB-481F-89AD-C29BDF7722D4}"/>
                </a:ext>
              </a:extLst>
            </p:cNvPr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5567105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项目总结</a:t>
            </a:r>
            <a:endParaRPr lang="zh-CN" altLang="en-US" sz="4800" dirty="0"/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1EF15F11-43C9-46B4-A251-6E6BFF17E647}"/>
              </a:ext>
            </a:extLst>
          </p:cNvPr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60787578-92C1-4BF2-89D1-8ECE42FF765C}"/>
              </a:ext>
            </a:extLst>
          </p:cNvPr>
          <p:cNvCxnSpPr>
            <a:cxnSpLocks/>
          </p:cNvCxnSpPr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>
            <a:extLst>
              <a:ext uri="{FF2B5EF4-FFF2-40B4-BE49-F238E27FC236}">
                <a16:creationId xmlns:a16="http://schemas.microsoft.com/office/drawing/2014/main" id="{309F3FF9-E043-4B12-ADA3-E580F73A9191}"/>
              </a:ext>
            </a:extLst>
          </p:cNvPr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D57D805-4545-4C42-A553-3B1CB655C465}"/>
                </a:ext>
              </a:extLst>
            </p:cNvPr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33E383B-784A-4CFC-8B9B-10CAE15FC541}"/>
                </a:ext>
              </a:extLst>
            </p:cNvPr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D8A1CC8A-F4DE-4605-9782-7C05DB5F551E}"/>
                </a:ext>
              </a:extLst>
            </p:cNvPr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CC7B58F-FDC2-4175-A147-3BDB2D456081}"/>
                </a:ext>
              </a:extLst>
            </p:cNvPr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43074D3-95FC-445F-9F89-2FD7C5DC0F5A}"/>
                </a:ext>
              </a:extLst>
            </p:cNvPr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D3DC055-74BB-481F-89AD-C29BDF7722D4}"/>
                </a:ext>
              </a:extLst>
            </p:cNvPr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5577505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5" name="276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000258" y="-1333482"/>
            <a:ext cx="6191484" cy="7315181"/>
            <a:chOff x="3000258" y="-1333482"/>
            <a:chExt cx="6191484" cy="7315181"/>
          </a:xfrm>
        </p:grpSpPr>
        <p:sp>
          <p:nvSpPr>
            <p:cNvPr id="6" name="îṥ1ïḍè">
              <a:extLst>
                <a:ext uri="{FF2B5EF4-FFF2-40B4-BE49-F238E27FC236}">
                  <a16:creationId xmlns:a16="http://schemas.microsoft.com/office/drawing/2014/main" id="{D37EAF73-AC9E-4C3C-8012-1A854251B8AB}"/>
                </a:ext>
              </a:extLst>
            </p:cNvPr>
            <p:cNvSpPr/>
            <p:nvPr/>
          </p:nvSpPr>
          <p:spPr>
            <a:xfrm rot="2700000">
              <a:off x="4351415" y="-1333482"/>
              <a:ext cx="3489172" cy="3489172"/>
            </a:xfrm>
            <a:custGeom>
              <a:avLst/>
              <a:gdLst>
                <a:gd name="connsiteX0" fmla="*/ 0 w 3489172"/>
                <a:gd name="connsiteY0" fmla="*/ 2981878 h 3489172"/>
                <a:gd name="connsiteX1" fmla="*/ 2981878 w 3489172"/>
                <a:gd name="connsiteY1" fmla="*/ 0 h 3489172"/>
                <a:gd name="connsiteX2" fmla="*/ 3489172 w 3489172"/>
                <a:gd name="connsiteY2" fmla="*/ 0 h 3489172"/>
                <a:gd name="connsiteX3" fmla="*/ 3489172 w 3489172"/>
                <a:gd name="connsiteY3" fmla="*/ 3489172 h 3489172"/>
                <a:gd name="connsiteX4" fmla="*/ 0 w 3489172"/>
                <a:gd name="connsiteY4" fmla="*/ 3489172 h 3489172"/>
                <a:gd name="connsiteX5" fmla="*/ 0 w 3489172"/>
                <a:gd name="connsiteY5" fmla="*/ 2981878 h 3489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9172" h="3489172">
                  <a:moveTo>
                    <a:pt x="0" y="2981878"/>
                  </a:moveTo>
                  <a:lnTo>
                    <a:pt x="2981878" y="0"/>
                  </a:lnTo>
                  <a:lnTo>
                    <a:pt x="3489172" y="0"/>
                  </a:lnTo>
                  <a:lnTo>
                    <a:pt x="3489172" y="3489172"/>
                  </a:lnTo>
                  <a:lnTo>
                    <a:pt x="0" y="3489172"/>
                  </a:lnTo>
                  <a:lnTo>
                    <a:pt x="0" y="298187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1016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7" name="ïSľîḍê">
              <a:extLst>
                <a:ext uri="{FF2B5EF4-FFF2-40B4-BE49-F238E27FC236}">
                  <a16:creationId xmlns:a16="http://schemas.microsoft.com/office/drawing/2014/main" id="{9E816B4A-8ADE-43AD-8142-9012AA739EEA}"/>
                </a:ext>
              </a:extLst>
            </p:cNvPr>
            <p:cNvSpPr/>
            <p:nvPr/>
          </p:nvSpPr>
          <p:spPr>
            <a:xfrm rot="2700000">
              <a:off x="4402698" y="-1293479"/>
              <a:ext cx="3397486" cy="3413418"/>
            </a:xfrm>
            <a:custGeom>
              <a:avLst/>
              <a:gdLst>
                <a:gd name="connsiteX0" fmla="*/ 0 w 3397486"/>
                <a:gd name="connsiteY0" fmla="*/ 2821063 h 3413418"/>
                <a:gd name="connsiteX1" fmla="*/ 2821063 w 3397486"/>
                <a:gd name="connsiteY1" fmla="*/ 0 h 3413418"/>
                <a:gd name="connsiteX2" fmla="*/ 3397485 w 3397486"/>
                <a:gd name="connsiteY2" fmla="*/ 0 h 3413418"/>
                <a:gd name="connsiteX3" fmla="*/ 3397486 w 3397486"/>
                <a:gd name="connsiteY3" fmla="*/ 3413418 h 3413418"/>
                <a:gd name="connsiteX4" fmla="*/ 0 w 3397486"/>
                <a:gd name="connsiteY4" fmla="*/ 3413418 h 3413418"/>
                <a:gd name="connsiteX5" fmla="*/ 0 w 3397486"/>
                <a:gd name="connsiteY5" fmla="*/ 2821063 h 341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7486" h="3413418">
                  <a:moveTo>
                    <a:pt x="0" y="2821063"/>
                  </a:moveTo>
                  <a:lnTo>
                    <a:pt x="2821063" y="0"/>
                  </a:lnTo>
                  <a:lnTo>
                    <a:pt x="3397485" y="0"/>
                  </a:lnTo>
                  <a:lnTo>
                    <a:pt x="3397486" y="3413418"/>
                  </a:lnTo>
                  <a:lnTo>
                    <a:pt x="0" y="3413418"/>
                  </a:lnTo>
                  <a:lnTo>
                    <a:pt x="0" y="2821063"/>
                  </a:lnTo>
                  <a:close/>
                </a:path>
              </a:pathLst>
            </a:custGeom>
            <a:blipFill>
              <a:blip r:embed="rId3"/>
              <a:srcRect/>
              <a:stretch>
                <a:fillRect t="-24742" b="-24558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D1DADD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 defTabSz="457200"/>
              <a:endParaRPr dirty="0"/>
            </a:p>
          </p:txBody>
        </p:sp>
        <p:sp>
          <p:nvSpPr>
            <p:cNvPr id="8" name="iśļïďè"/>
            <p:cNvSpPr txBox="1"/>
            <p:nvPr/>
          </p:nvSpPr>
          <p:spPr>
            <a:xfrm>
              <a:off x="3000258" y="3350000"/>
              <a:ext cx="6191484" cy="629679"/>
            </a:xfrm>
            <a:prstGeom prst="rect">
              <a:avLst/>
            </a:prstGeom>
          </p:spPr>
          <p:txBody>
            <a:bodyPr vert="horz" wrap="none" lIns="91440" tIns="45720" rIns="91440" bIns="45720" anchor="b">
              <a:normAutofit/>
            </a:bodyPr>
            <a:lstStyle/>
            <a:p>
              <a:pPr algn="ctr"/>
              <a:r>
                <a:rPr lang="zh-CN" altLang="en-US" sz="2800" b="1" dirty="0" smtClean="0"/>
                <a:t>项目总结</a:t>
              </a:r>
              <a:endParaRPr lang="zh-CN" altLang="en-US" sz="2800" b="1" dirty="0"/>
            </a:p>
          </p:txBody>
        </p:sp>
        <p:sp>
          <p:nvSpPr>
            <p:cNvPr id="9" name="iṧ1ídé"/>
            <p:cNvSpPr txBox="1"/>
            <p:nvPr/>
          </p:nvSpPr>
          <p:spPr>
            <a:xfrm>
              <a:off x="3000258" y="3979678"/>
              <a:ext cx="6191484" cy="2002021"/>
            </a:xfrm>
            <a:prstGeom prst="rect">
              <a:avLst/>
            </a:prstGeom>
          </p:spPr>
          <p:txBody>
            <a:bodyPr vert="horz" wrap="square" lIns="91440" tIns="45720" rIns="91440" bIns="4572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 smtClean="0"/>
                <a:t>本项目让我深度复习了原有的</a:t>
              </a:r>
              <a:r>
                <a:rPr lang="zh-CN" altLang="en-US" sz="1400" dirty="0" smtClean="0"/>
                <a:t>数据库设计的课程，让我对整个数据库的架构有了深入的认识。本次项目也让我对原来的一些设计思想、设计模式有了更深的理解。</a:t>
              </a:r>
              <a:endParaRPr lang="en-US" altLang="zh-CN" sz="1400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23849106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043669" y="4534344"/>
            <a:ext cx="6654593" cy="310871"/>
          </a:xfrm>
          <a:effectLst/>
        </p:spPr>
        <p:txBody>
          <a:bodyPr>
            <a:noAutofit/>
          </a:bodyPr>
          <a:lstStyle/>
          <a:p>
            <a:r>
              <a:rPr lang="zh-CN" altLang="en-US" sz="1800" dirty="0" smtClean="0"/>
              <a:t>指导教师：冯凤娟</a:t>
            </a:r>
            <a:endParaRPr lang="en-US" altLang="en-US" sz="18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043669" y="4238073"/>
            <a:ext cx="6654593" cy="296271"/>
          </a:xfrm>
          <a:effectLst/>
        </p:spPr>
        <p:txBody>
          <a:bodyPr/>
          <a:lstStyle/>
          <a:p>
            <a:r>
              <a:rPr lang="zh-CN" altLang="en-US" sz="1800" dirty="0" smtClean="0"/>
              <a:t>龙灏天</a:t>
            </a:r>
            <a:endParaRPr lang="en-US" altLang="zh-CN" sz="1800" dirty="0"/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043669" y="1995341"/>
            <a:ext cx="5048297" cy="1874432"/>
          </a:xfrm>
          <a:effectLst/>
        </p:spPr>
        <p:txBody>
          <a:bodyPr>
            <a:normAutofit/>
          </a:bodyPr>
          <a:lstStyle/>
          <a:p>
            <a:r>
              <a:rPr lang="zh-CN" altLang="en-US" sz="4000" dirty="0" smtClean="0"/>
              <a:t>感谢聆听</a:t>
            </a:r>
            <a:endParaRPr lang="zh-CN" altLang="en-US" sz="4000" dirty="0"/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C58B44DE-C57C-43EE-9AE9-B18CEC1FD161}"/>
              </a:ext>
            </a:extLst>
          </p:cNvPr>
          <p:cNvCxnSpPr>
            <a:cxnSpLocks/>
          </p:cNvCxnSpPr>
          <p:nvPr/>
        </p:nvCxnSpPr>
        <p:spPr>
          <a:xfrm>
            <a:off x="1167275" y="4076600"/>
            <a:ext cx="3811125" cy="0"/>
          </a:xfrm>
          <a:prstGeom prst="line">
            <a:avLst/>
          </a:prstGeom>
          <a:ln>
            <a:solidFill>
              <a:schemeClr val="bg2"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BCC1ACBD-D9DA-458E-8BB5-D1A6287481B5}"/>
              </a:ext>
            </a:extLst>
          </p:cNvPr>
          <p:cNvCxnSpPr>
            <a:cxnSpLocks/>
          </p:cNvCxnSpPr>
          <p:nvPr/>
        </p:nvCxnSpPr>
        <p:spPr>
          <a:xfrm>
            <a:off x="1167275" y="5016400"/>
            <a:ext cx="3811125" cy="0"/>
          </a:xfrm>
          <a:prstGeom prst="line">
            <a:avLst/>
          </a:prstGeom>
          <a:ln>
            <a:solidFill>
              <a:schemeClr val="bg2"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椭圆 1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椭圆 6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椭圆 14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直接连接符 19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矩形 34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直接连接符 36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文本框 38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矩形 354">
            <a:extLst>
              <a:ext uri="{FF2B5EF4-FFF2-40B4-BE49-F238E27FC236}">
                <a16:creationId xmlns:a16="http://schemas.microsoft.com/office/drawing/2014/main" id="{7F5B46B9-6DA9-43A1-B6EB-AFAA02758115}"/>
              </a:ext>
            </a:extLst>
          </p:cNvPr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1214C4-3D8B-473D-9D9C-F2F23FBFB600}"/>
              </a:ext>
            </a:extLst>
          </p:cNvPr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标题 1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/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직사각형 45">
            <a:extLst>
              <a:ext uri="{FF2B5EF4-FFF2-40B4-BE49-F238E27FC236}">
                <a16:creationId xmlns:a16="http://schemas.microsoft.com/office/drawing/2014/main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组合 344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Group 4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Freeform 5"/>
              <p:cNvSpPr>
                <a:spLocks/>
              </p:cNvSpPr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Freeform 6"/>
              <p:cNvSpPr>
                <a:spLocks/>
              </p:cNvSpPr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Rectangle 7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Rectangle 8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Rectangle 9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Rectangle 10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Rectangle 11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Rectangle 12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Rectangle 13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Oval 14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Oval 15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Oval 16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Freeform 17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Freeform 18"/>
              <p:cNvSpPr>
                <a:spLocks/>
              </p:cNvSpPr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Rectangle 19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Freeform 20"/>
              <p:cNvSpPr>
                <a:spLocks/>
              </p:cNvSpPr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Freeform 21"/>
              <p:cNvSpPr>
                <a:spLocks/>
              </p:cNvSpPr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Freeform 22"/>
              <p:cNvSpPr>
                <a:spLocks/>
              </p:cNvSpPr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Freeform 23"/>
              <p:cNvSpPr>
                <a:spLocks/>
              </p:cNvSpPr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32" name="组合 331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组合 332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六边形 338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六边形 339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六边形 340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六边形 341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六边形 342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六边形 343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组合 333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圆角矩形 13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圆角矩形 13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圆角矩形 13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圆角矩形 13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332"/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组合 346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矩形 91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/>
                  <a:ea typeface="微软雅黑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174" name="乘号 173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175" name="push-pin-pointing-down_8930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/>
                  <a:ea typeface="微软雅黑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/>
                <a:ea typeface="微软雅黑"/>
              </a:endParaRPr>
            </a:p>
          </p:txBody>
        </p:sp>
        <p:cxnSp>
          <p:nvCxnSpPr>
            <p:cNvPr id="176" name="直接连接符 175"/>
            <p:cNvCxnSpPr>
              <a:cxnSpLocks/>
            </p:cNvCxnSpPr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矩形 95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grpSp>
          <p:nvGrpSpPr>
            <p:cNvPr id="100" name="组合 99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矩形: 圆角 3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连接符: 肘形 32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连接符: 肘形 34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组合 165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组合 166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椭圆 23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椭圆 24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椭圆 25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椭圆 26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连接符: 肘形 36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圆角矩形 13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组合 100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矩形: 圆角 214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组合 141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组合 142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圆角矩形 13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圆角矩形 13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圆角矩形 13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圆角矩形 13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圆角矩形 13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组合 143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组合 144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圆角矩形 13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圆角矩形 13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圆角矩形 13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圆角矩形 13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组合 101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矩形: 圆角 222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组合 127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组合 128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六边形 134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六边形 135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六边形 136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六边形 137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六边形 138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六边形 139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组合 129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圆角矩形 13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圆角矩形 13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圆角矩形 13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组合 102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矩形: 圆角 220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组合 104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圆角矩形 13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圆角矩形 13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组合 107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圆角矩形 13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圆角矩形 13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组合 108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组合 109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组合 110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组合 111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组合 239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矩形: 圆角 8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组合 241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圆角矩形 13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4" name="圆角矩形 13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5" name="圆角矩形 13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6" name="圆角矩形 245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7" name="圆角矩形 13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grpSp>
          <p:nvGrpSpPr>
            <p:cNvPr id="248" name="组合 247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矩形: 圆角 225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组合 249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组合 250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自由: 形状 487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0" name="自由: 形状 488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1" name="矩形: 圆角 489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2" name="组合 251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自由: 形状 483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6" name="自由: 形状 484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7" name="自由: 形状 485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8" name="自由: 形状 486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3" name="组合 252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3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4" name="圆角矩形 13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7" name="圆角矩形 13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8" name="圆角矩形 13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9" name="圆角矩形 13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4" name="组合 253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圆角矩形 13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0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1" name="圆角矩形 13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5" name="组合 254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7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8" name="圆角矩形 13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72" name="组合 271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矩形: 圆角 216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组合 273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组合 274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圆角矩形 13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7" name="圆角矩形 13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8" name="圆角矩形 13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6" name="组合 275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3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4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5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7" name="组合 276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9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0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1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89" name="组合 288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矩形: 圆角 223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组合 290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矩形: 圆角 37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3" name="矩形: 圆角 569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4" name="矩形: 圆角 570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5" name="矩形: 圆角 571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6" name="箭头: 燕尾形 38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7" name="箭头: 燕尾形 573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8" name="箭头: 燕尾形 574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9" name="矩形: 圆角 575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0" name="矩形: 圆角 576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1" name="矩形: 圆角 577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2" name="矩形: 圆角 578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sp>
          <p:nvSpPr>
            <p:cNvPr id="348" name="矩形 347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349" name="矩形 348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351" name="文本框 350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椭圆 349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椭圆 351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文本框 352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文本框 353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1"/>
              <a:t>Get more help</a:t>
            </a:r>
            <a:endParaRPr lang="zh-CN" altLang="en-US" sz="1051" dirty="0"/>
          </a:p>
        </p:txBody>
      </p:sp>
      <p:sp>
        <p:nvSpPr>
          <p:cNvPr id="35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grpSp>
        <p:nvGrpSpPr>
          <p:cNvPr id="195" name="图形 16">
            <a:extLst>
              <a:ext uri="{FF2B5EF4-FFF2-40B4-BE49-F238E27FC236}">
                <a16:creationId xmlns:a16="http://schemas.microsoft.com/office/drawing/2014/main" id="{B01F4E16-0C10-4EC4-8A41-53B393FD2E7B}"/>
              </a:ext>
            </a:extLst>
          </p:cNvPr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5D4E8461-AFC3-4BD3-9434-5D62260C034A}"/>
                </a:ext>
              </a:extLst>
            </p:cNvPr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62F93730-82B7-4006-9BD8-4D2DCA55CBD7}"/>
                </a:ext>
              </a:extLst>
            </p:cNvPr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E9BF702A-0680-40BC-BBBC-CE956AA0699E}"/>
                </a:ext>
              </a:extLst>
            </p:cNvPr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직사각형 45">
            <a:extLst>
              <a:ext uri="{FF2B5EF4-FFF2-40B4-BE49-F238E27FC236}">
                <a16:creationId xmlns:a16="http://schemas.microsoft.com/office/drawing/2014/main" id="{9EF3CA65-FB3F-47A3-BCF1-23E3EE554F5F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330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FCA4820A-B8E1-434F-B66D-EB93F605CDC9}"/>
              </a:ext>
            </a:extLst>
          </p:cNvPr>
          <p:cNvGrpSpPr/>
          <p:nvPr/>
        </p:nvGrpSpPr>
        <p:grpSpPr>
          <a:xfrm>
            <a:off x="669926" y="1070043"/>
            <a:ext cx="8400484" cy="1816466"/>
            <a:chOff x="669926" y="1070043"/>
            <a:chExt cx="8400484" cy="1816466"/>
          </a:xfrm>
        </p:grpSpPr>
        <p:grpSp>
          <p:nvGrpSpPr>
            <p:cNvPr id="55" name="组合 54">
              <a:extLst>
                <a:ext uri="{FF2B5EF4-FFF2-40B4-BE49-F238E27FC236}">
                  <a16:creationId xmlns:a16="http://schemas.microsoft.com/office/drawing/2014/main" id="{205E32D3-F97D-4444-85C3-800AAD5285EE}"/>
                </a:ext>
              </a:extLst>
            </p:cNvPr>
            <p:cNvGrpSpPr/>
            <p:nvPr/>
          </p:nvGrpSpPr>
          <p:grpSpPr>
            <a:xfrm>
              <a:off x="3351892" y="1132701"/>
              <a:ext cx="3551553" cy="1643957"/>
              <a:chOff x="3351892" y="1132701"/>
              <a:chExt cx="3551553" cy="1643957"/>
            </a:xfrm>
          </p:grpSpPr>
          <p:sp>
            <p:nvSpPr>
              <p:cNvPr id="32" name="矩形 189">
                <a:extLst>
                  <a:ext uri="{FF2B5EF4-FFF2-40B4-BE49-F238E27FC236}">
                    <a16:creationId xmlns:a16="http://schemas.microsoft.com/office/drawing/2014/main" id="{FEBC6BBC-BB54-4927-B452-5451B28DDDA5}"/>
                  </a:ext>
                </a:extLst>
              </p:cNvPr>
              <p:cNvSpPr/>
              <p:nvPr/>
            </p:nvSpPr>
            <p:spPr>
              <a:xfrm>
                <a:off x="3351892" y="2453493"/>
                <a:ext cx="3336479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4354">
                  <a:lnSpc>
                    <a:spcPct val="15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www.islide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矩形 190">
                <a:extLst>
                  <a:ext uri="{FF2B5EF4-FFF2-40B4-BE49-F238E27FC236}">
                    <a16:creationId xmlns:a16="http://schemas.microsoft.com/office/drawing/2014/main" id="{387C4D2F-DDE4-4325-9289-797FA395D4BE}"/>
                  </a:ext>
                </a:extLst>
              </p:cNvPr>
              <p:cNvSpPr/>
              <p:nvPr/>
            </p:nvSpPr>
            <p:spPr>
              <a:xfrm>
                <a:off x="3351892" y="1132701"/>
                <a:ext cx="3551553" cy="11079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 Professional 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组合 55">
              <a:extLst>
                <a:ext uri="{FF2B5EF4-FFF2-40B4-BE49-F238E27FC236}">
                  <a16:creationId xmlns:a16="http://schemas.microsoft.com/office/drawing/2014/main" id="{DBF86C5A-46C1-4DD7-84CF-BB20DBAF36B2}"/>
                </a:ext>
              </a:extLst>
            </p:cNvPr>
            <p:cNvGrpSpPr/>
            <p:nvPr/>
          </p:nvGrpSpPr>
          <p:grpSpPr>
            <a:xfrm>
              <a:off x="7672272" y="1128666"/>
              <a:ext cx="1398138" cy="1757843"/>
              <a:chOff x="7672272" y="1128666"/>
              <a:chExt cx="1398138" cy="1757843"/>
            </a:xfrm>
          </p:grpSpPr>
          <p:sp>
            <p:nvSpPr>
              <p:cNvPr id="34" name="矩形 211">
                <a:extLst>
                  <a:ext uri="{FF2B5EF4-FFF2-40B4-BE49-F238E27FC236}">
                    <a16:creationId xmlns:a16="http://schemas.microsoft.com/office/drawing/2014/main" id="{7D7628F9-10BB-4B1A-9FD7-13B5C4904AEE}"/>
                  </a:ext>
                </a:extLst>
              </p:cNvPr>
              <p:cNvSpPr/>
              <p:nvPr/>
            </p:nvSpPr>
            <p:spPr>
              <a:xfrm>
                <a:off x="7672272" y="2486399"/>
                <a:ext cx="1398138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 us on WeChat</a:t>
                </a:r>
              </a:p>
            </p:txBody>
          </p:sp>
          <p:grpSp>
            <p:nvGrpSpPr>
              <p:cNvPr id="35" name="组合 212">
                <a:extLst>
                  <a:ext uri="{FF2B5EF4-FFF2-40B4-BE49-F238E27FC236}">
                    <a16:creationId xmlns:a16="http://schemas.microsoft.com/office/drawing/2014/main" id="{9D4A6AFC-4EDB-4329-A490-B7F93AD11431}"/>
                  </a:ext>
                </a:extLst>
              </p:cNvPr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图片 213">
                  <a:extLst>
                    <a:ext uri="{FF2B5EF4-FFF2-40B4-BE49-F238E27FC236}">
                      <a16:creationId xmlns:a16="http://schemas.microsoft.com/office/drawing/2014/main" id="{942EAD01-3CC1-4412-880E-B86F17132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组合 214">
                  <a:extLst>
                    <a:ext uri="{FF2B5EF4-FFF2-40B4-BE49-F238E27FC236}">
                      <a16:creationId xmlns:a16="http://schemas.microsoft.com/office/drawing/2014/main" id="{D01E47ED-C402-438D-9A79-BC1163AB6CE1}"/>
                    </a:ext>
                  </a:extLst>
                </p:cNvPr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圆角矩形 215">
                    <a:extLst>
                      <a:ext uri="{FF2B5EF4-FFF2-40B4-BE49-F238E27FC236}">
                        <a16:creationId xmlns:a16="http://schemas.microsoft.com/office/drawing/2014/main" id="{CEE1B0A4-0F49-4D05-B77A-DAF004479898}"/>
                      </a:ext>
                    </a:extLst>
                  </p:cNvPr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圆角矩形 216">
                    <a:extLst>
                      <a:ext uri="{FF2B5EF4-FFF2-40B4-BE49-F238E27FC236}">
                        <a16:creationId xmlns:a16="http://schemas.microsoft.com/office/drawing/2014/main" id="{9AFDF6F6-5203-42D6-8C4C-E3737A97AB7C}"/>
                      </a:ext>
                    </a:extLst>
                  </p:cNvPr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C3A85DFC-ADF1-474C-BF81-0F72CD8A2D8A}"/>
                </a:ext>
              </a:extLst>
            </p:cNvPr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id="{9EA76247-2E45-497B-9699-23C3E298E518}"/>
                </a:ext>
              </a:extLst>
            </p:cNvPr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6E55B609-DF7B-4808-8F5D-EA3B33D46549}"/>
                </a:ext>
              </a:extLst>
            </p:cNvPr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AutoShape 15">
                <a:extLst>
                  <a:ext uri="{FF2B5EF4-FFF2-40B4-BE49-F238E27FC236}">
                    <a16:creationId xmlns:a16="http://schemas.microsoft.com/office/drawing/2014/main" id="{F7A235F1-D186-4F8C-9E3D-0DB3AD5C3DA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Freeform 17">
                <a:extLst>
                  <a:ext uri="{FF2B5EF4-FFF2-40B4-BE49-F238E27FC236}">
                    <a16:creationId xmlns:a16="http://schemas.microsoft.com/office/drawing/2014/main" id="{941C3095-FFD0-4B57-883A-2C237609F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Freeform 18">
                <a:extLst>
                  <a:ext uri="{FF2B5EF4-FFF2-40B4-BE49-F238E27FC236}">
                    <a16:creationId xmlns:a16="http://schemas.microsoft.com/office/drawing/2014/main" id="{CC5E806E-76B1-4ABF-BEE7-23A937B981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Freeform 19">
                <a:extLst>
                  <a:ext uri="{FF2B5EF4-FFF2-40B4-BE49-F238E27FC236}">
                    <a16:creationId xmlns:a16="http://schemas.microsoft.com/office/drawing/2014/main" id="{FBA0A1B2-675D-40DD-9B20-019CEA484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Freeform 20">
                <a:extLst>
                  <a:ext uri="{FF2B5EF4-FFF2-40B4-BE49-F238E27FC236}">
                    <a16:creationId xmlns:a16="http://schemas.microsoft.com/office/drawing/2014/main" id="{8895173D-9045-411E-B47E-7FD23A132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Freeform 21">
                <a:extLst>
                  <a:ext uri="{FF2B5EF4-FFF2-40B4-BE49-F238E27FC236}">
                    <a16:creationId xmlns:a16="http://schemas.microsoft.com/office/drawing/2014/main" id="{0A1E4CE6-4E33-4BA6-9D4F-22B8D5940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22">
                <a:extLst>
                  <a:ext uri="{FF2B5EF4-FFF2-40B4-BE49-F238E27FC236}">
                    <a16:creationId xmlns:a16="http://schemas.microsoft.com/office/drawing/2014/main" id="{53805563-2D7C-487B-AB41-2ABCDF5A2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23">
                <a:extLst>
                  <a:ext uri="{FF2B5EF4-FFF2-40B4-BE49-F238E27FC236}">
                    <a16:creationId xmlns:a16="http://schemas.microsoft.com/office/drawing/2014/main" id="{F5B09A70-BD5C-4AEC-8E34-1AB2A86C5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Freeform 24">
                <a:extLst>
                  <a:ext uri="{FF2B5EF4-FFF2-40B4-BE49-F238E27FC236}">
                    <a16:creationId xmlns:a16="http://schemas.microsoft.com/office/drawing/2014/main" id="{3776C0FC-51B4-43E9-A802-9FD933C30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61072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22439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01675" y="1019175"/>
            <a:ext cx="10845800" cy="5118100"/>
            <a:chOff x="673100" y="1028700"/>
            <a:chExt cx="10845800" cy="5118100"/>
          </a:xfrm>
        </p:grpSpPr>
        <p:sp>
          <p:nvSpPr>
            <p:cNvPr id="5" name="i$ľiḍé"/>
            <p:cNvSpPr/>
            <p:nvPr/>
          </p:nvSpPr>
          <p:spPr>
            <a:xfrm>
              <a:off x="673100" y="1028700"/>
              <a:ext cx="10845800" cy="1847665"/>
            </a:xfrm>
            <a:prstGeom prst="rect">
              <a:avLst/>
            </a:prstGeom>
            <a:blipFill>
              <a:blip r:embed="rId3"/>
              <a:srcRect/>
              <a:stretch>
                <a:fillRect t="-146668" b="-144666"/>
              </a:stretch>
            </a:blipFill>
            <a:ln w="635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 prstMaterial="flat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4377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işļiďe">
              <a:extLst>
                <a:ext uri="{FF2B5EF4-FFF2-40B4-BE49-F238E27FC236}">
                  <a16:creationId xmlns:a16="http://schemas.microsoft.com/office/drawing/2014/main" id="{23E9BBEA-FB54-47C3-BA28-CE85931B8740}"/>
                </a:ext>
              </a:extLst>
            </p:cNvPr>
            <p:cNvSpPr txBox="1"/>
            <p:nvPr/>
          </p:nvSpPr>
          <p:spPr>
            <a:xfrm>
              <a:off x="673100" y="2984673"/>
              <a:ext cx="10845800" cy="7546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zh-CN" altLang="en-US" sz="2400" dirty="0" smtClean="0">
                  <a:solidFill>
                    <a:schemeClr val="bg1"/>
                  </a:solidFill>
                </a:rPr>
                <a:t>分工说明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grpSp>
          <p:nvGrpSpPr>
            <p:cNvPr id="7" name="ïsļíḓè"/>
            <p:cNvGrpSpPr/>
            <p:nvPr/>
          </p:nvGrpSpPr>
          <p:grpSpPr>
            <a:xfrm>
              <a:off x="1692672" y="4145975"/>
              <a:ext cx="943995" cy="781722"/>
              <a:chOff x="1692672" y="4234875"/>
              <a:chExt cx="943995" cy="781722"/>
            </a:xfrm>
          </p:grpSpPr>
          <p:sp>
            <p:nvSpPr>
              <p:cNvPr id="32" name="ísḷîďe">
                <a:extLst>
                  <a:ext uri="{FF2B5EF4-FFF2-40B4-BE49-F238E27FC236}">
                    <a16:creationId xmlns:a16="http://schemas.microsoft.com/office/drawing/2014/main" id="{679899D2-E714-4138-A470-7639B16C95F6}"/>
                  </a:ext>
                </a:extLst>
              </p:cNvPr>
              <p:cNvSpPr/>
              <p:nvPr/>
            </p:nvSpPr>
            <p:spPr bwMode="auto">
              <a:xfrm>
                <a:off x="1858391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îś1íḓè">
                <a:extLst>
                  <a:ext uri="{FF2B5EF4-FFF2-40B4-BE49-F238E27FC236}">
                    <a16:creationId xmlns:a16="http://schemas.microsoft.com/office/drawing/2014/main" id="{077E210A-6337-4130-8537-978D3C8F5506}"/>
                  </a:ext>
                </a:extLst>
              </p:cNvPr>
              <p:cNvSpPr/>
              <p:nvPr/>
            </p:nvSpPr>
            <p:spPr bwMode="auto">
              <a:xfrm>
                <a:off x="1692672" y="4374549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" name="íşľïďe"/>
            <p:cNvGrpSpPr/>
            <p:nvPr/>
          </p:nvGrpSpPr>
          <p:grpSpPr>
            <a:xfrm>
              <a:off x="692895" y="4977229"/>
              <a:ext cx="2369459" cy="1169571"/>
              <a:chOff x="1078034" y="5066129"/>
              <a:chExt cx="2369459" cy="1169571"/>
            </a:xfrm>
          </p:grpSpPr>
          <p:sp>
            <p:nvSpPr>
              <p:cNvPr id="30" name="iṧľiḓé">
                <a:extLst>
                  <a:ext uri="{FF2B5EF4-FFF2-40B4-BE49-F238E27FC236}">
                    <a16:creationId xmlns:a16="http://schemas.microsoft.com/office/drawing/2014/main" id="{8316902B-9F15-4AE4-BBCF-5E1CB0686F18}"/>
                  </a:ext>
                </a:extLst>
              </p:cNvPr>
              <p:cNvSpPr/>
              <p:nvPr/>
            </p:nvSpPr>
            <p:spPr bwMode="auto">
              <a:xfrm>
                <a:off x="1078034" y="5466256"/>
                <a:ext cx="2369459" cy="769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zh-CN" altLang="en-US" sz="1100" dirty="0" smtClean="0">
                    <a:solidFill>
                      <a:schemeClr val="bg1"/>
                    </a:solidFill>
                  </a:rPr>
                  <a:t>核心系统设计、界面设计、功能设计、程序实现与调试、测试开发、文档编写等。</a:t>
                </a:r>
                <a:endParaRPr lang="en-US" altLang="zh-CN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îṧlíḓe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1078034" y="5066129"/>
                <a:ext cx="2369459" cy="400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b="1" dirty="0" smtClean="0">
                    <a:solidFill>
                      <a:schemeClr val="bg1"/>
                    </a:solidFill>
                  </a:rPr>
                  <a:t>龙灏天</a:t>
                </a:r>
                <a:endParaRPr lang="en-US" altLang="zh-CN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" name="ï$1íḓè"/>
            <p:cNvGrpSpPr/>
            <p:nvPr/>
          </p:nvGrpSpPr>
          <p:grpSpPr>
            <a:xfrm>
              <a:off x="4077759" y="4145975"/>
              <a:ext cx="1124555" cy="781722"/>
              <a:chOff x="4077759" y="4234875"/>
              <a:chExt cx="1124555" cy="781722"/>
            </a:xfrm>
          </p:grpSpPr>
          <p:sp>
            <p:nvSpPr>
              <p:cNvPr id="28" name="iŝ1îḓé">
                <a:extLst>
                  <a:ext uri="{FF2B5EF4-FFF2-40B4-BE49-F238E27FC236}">
                    <a16:creationId xmlns:a16="http://schemas.microsoft.com/office/drawing/2014/main" id="{679899D2-E714-4138-A470-7639B16C95F6}"/>
                  </a:ext>
                </a:extLst>
              </p:cNvPr>
              <p:cNvSpPr/>
              <p:nvPr/>
            </p:nvSpPr>
            <p:spPr bwMode="auto">
              <a:xfrm>
                <a:off x="4424038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íṧḻiḓe">
                <a:extLst>
                  <a:ext uri="{FF2B5EF4-FFF2-40B4-BE49-F238E27FC236}">
                    <a16:creationId xmlns:a16="http://schemas.microsoft.com/office/drawing/2014/main" id="{077E210A-6337-4130-8537-978D3C8F5506}"/>
                  </a:ext>
                </a:extLst>
              </p:cNvPr>
              <p:cNvSpPr/>
              <p:nvPr/>
            </p:nvSpPr>
            <p:spPr bwMode="auto">
              <a:xfrm>
                <a:off x="4077759" y="4374549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7" name="îŝľiḋé">
              <a:extLst>
                <a:ext uri="{FF2B5EF4-FFF2-40B4-BE49-F238E27FC236}">
                  <a16:creationId xmlns:a16="http://schemas.microsoft.com/office/drawing/2014/main" id="{FCBCE448-A746-45FC-ABE2-27B64D489326}"/>
                </a:ext>
              </a:extLst>
            </p:cNvPr>
            <p:cNvSpPr txBox="1"/>
            <p:nvPr/>
          </p:nvSpPr>
          <p:spPr bwMode="auto">
            <a:xfrm>
              <a:off x="3077982" y="4977229"/>
              <a:ext cx="2369459" cy="400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 smtClean="0">
                  <a:solidFill>
                    <a:schemeClr val="bg1"/>
                  </a:solidFill>
                </a:rPr>
                <a:t>胡杨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grpSp>
          <p:nvGrpSpPr>
            <p:cNvPr id="11" name="ïṥḷíḍê"/>
            <p:cNvGrpSpPr/>
            <p:nvPr/>
          </p:nvGrpSpPr>
          <p:grpSpPr>
            <a:xfrm>
              <a:off x="6548369" y="4145975"/>
              <a:ext cx="1219592" cy="781722"/>
              <a:chOff x="6548369" y="4234875"/>
              <a:chExt cx="1219592" cy="781722"/>
            </a:xfrm>
          </p:grpSpPr>
          <p:sp>
            <p:nvSpPr>
              <p:cNvPr id="24" name="iṧlïḑe">
                <a:extLst>
                  <a:ext uri="{FF2B5EF4-FFF2-40B4-BE49-F238E27FC236}">
                    <a16:creationId xmlns:a16="http://schemas.microsoft.com/office/drawing/2014/main" id="{679899D2-E714-4138-A470-7639B16C95F6}"/>
                  </a:ext>
                </a:extLst>
              </p:cNvPr>
              <p:cNvSpPr/>
              <p:nvPr/>
            </p:nvSpPr>
            <p:spPr bwMode="auto">
              <a:xfrm>
                <a:off x="6989685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ïşľîḋè">
                <a:extLst>
                  <a:ext uri="{FF2B5EF4-FFF2-40B4-BE49-F238E27FC236}">
                    <a16:creationId xmlns:a16="http://schemas.microsoft.com/office/drawing/2014/main" id="{077E210A-6337-4130-8537-978D3C8F5506}"/>
                  </a:ext>
                </a:extLst>
              </p:cNvPr>
              <p:cNvSpPr/>
              <p:nvPr/>
            </p:nvSpPr>
            <p:spPr bwMode="auto">
              <a:xfrm>
                <a:off x="6548369" y="4408242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3" name="íş1iḍè">
              <a:extLst>
                <a:ext uri="{FF2B5EF4-FFF2-40B4-BE49-F238E27FC236}">
                  <a16:creationId xmlns:a16="http://schemas.microsoft.com/office/drawing/2014/main" id="{FCBCE448-A746-45FC-ABE2-27B64D489326}"/>
                </a:ext>
              </a:extLst>
            </p:cNvPr>
            <p:cNvSpPr txBox="1"/>
            <p:nvPr/>
          </p:nvSpPr>
          <p:spPr bwMode="auto">
            <a:xfrm>
              <a:off x="5496487" y="4977229"/>
              <a:ext cx="2369459" cy="400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 smtClean="0">
                  <a:solidFill>
                    <a:schemeClr val="bg1"/>
                  </a:solidFill>
                </a:rPr>
                <a:t>白思亮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grpSp>
          <p:nvGrpSpPr>
            <p:cNvPr id="13" name="íṡlidé"/>
            <p:cNvGrpSpPr/>
            <p:nvPr/>
          </p:nvGrpSpPr>
          <p:grpSpPr>
            <a:xfrm>
              <a:off x="8476693" y="4145975"/>
              <a:ext cx="1856915" cy="781722"/>
              <a:chOff x="8476693" y="4234875"/>
              <a:chExt cx="1856915" cy="781722"/>
            </a:xfrm>
          </p:grpSpPr>
          <p:sp>
            <p:nvSpPr>
              <p:cNvPr id="20" name="ïṩlîďê">
                <a:extLst>
                  <a:ext uri="{FF2B5EF4-FFF2-40B4-BE49-F238E27FC236}">
                    <a16:creationId xmlns:a16="http://schemas.microsoft.com/office/drawing/2014/main" id="{679899D2-E714-4138-A470-7639B16C95F6}"/>
                  </a:ext>
                </a:extLst>
              </p:cNvPr>
              <p:cNvSpPr/>
              <p:nvPr/>
            </p:nvSpPr>
            <p:spPr bwMode="auto">
              <a:xfrm>
                <a:off x="9555332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ïSľîḑê">
                <a:extLst>
                  <a:ext uri="{FF2B5EF4-FFF2-40B4-BE49-F238E27FC236}">
                    <a16:creationId xmlns:a16="http://schemas.microsoft.com/office/drawing/2014/main" id="{077E210A-6337-4130-8537-978D3C8F5506}"/>
                  </a:ext>
                </a:extLst>
              </p:cNvPr>
              <p:cNvSpPr/>
              <p:nvPr/>
            </p:nvSpPr>
            <p:spPr bwMode="auto">
              <a:xfrm>
                <a:off x="8476693" y="4411178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9" name="îṡlíḋè">
              <a:extLst>
                <a:ext uri="{FF2B5EF4-FFF2-40B4-BE49-F238E27FC236}">
                  <a16:creationId xmlns:a16="http://schemas.microsoft.com/office/drawing/2014/main" id="{FCBCE448-A746-45FC-ABE2-27B64D489326}"/>
                </a:ext>
              </a:extLst>
            </p:cNvPr>
            <p:cNvSpPr txBox="1"/>
            <p:nvPr/>
          </p:nvSpPr>
          <p:spPr bwMode="auto">
            <a:xfrm>
              <a:off x="7476916" y="4934271"/>
              <a:ext cx="2369459" cy="400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 smtClean="0">
                  <a:solidFill>
                    <a:schemeClr val="bg1"/>
                  </a:solidFill>
                </a:rPr>
                <a:t>丁仕麟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cxnSp>
          <p:nvCxnSpPr>
            <p:cNvPr id="15" name="直接连接符 14"/>
            <p:cNvCxnSpPr/>
            <p:nvPr/>
          </p:nvCxnSpPr>
          <p:spPr>
            <a:xfrm>
              <a:off x="3077982" y="4145975"/>
              <a:ext cx="0" cy="20008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5545535" y="4145975"/>
              <a:ext cx="0" cy="20008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7767961" y="4145975"/>
              <a:ext cx="0" cy="20008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4" name="直接连接符 33"/>
          <p:cNvCxnSpPr/>
          <p:nvPr/>
        </p:nvCxnSpPr>
        <p:spPr>
          <a:xfrm>
            <a:off x="9583907" y="4167354"/>
            <a:ext cx="0" cy="200082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ïSľîḑê">
            <a:extLst>
              <a:ext uri="{FF2B5EF4-FFF2-40B4-BE49-F238E27FC236}">
                <a16:creationId xmlns:a16="http://schemas.microsoft.com/office/drawing/2014/main" id="{077E210A-6337-4130-8537-978D3C8F5506}"/>
              </a:ext>
            </a:extLst>
          </p:cNvPr>
          <p:cNvSpPr/>
          <p:nvPr/>
        </p:nvSpPr>
        <p:spPr bwMode="auto">
          <a:xfrm>
            <a:off x="10349200" y="4309817"/>
            <a:ext cx="369906" cy="502374"/>
          </a:xfrm>
          <a:custGeom>
            <a:avLst/>
            <a:gdLst>
              <a:gd name="connsiteX0" fmla="*/ 345526 w 447102"/>
              <a:gd name="connsiteY0" fmla="*/ 386587 h 607216"/>
              <a:gd name="connsiteX1" fmla="*/ 239995 w 447102"/>
              <a:gd name="connsiteY1" fmla="*/ 415581 h 607216"/>
              <a:gd name="connsiteX2" fmla="*/ 239995 w 447102"/>
              <a:gd name="connsiteY2" fmla="*/ 569388 h 607216"/>
              <a:gd name="connsiteX3" fmla="*/ 326897 w 447102"/>
              <a:gd name="connsiteY3" fmla="*/ 545382 h 607216"/>
              <a:gd name="connsiteX4" fmla="*/ 326272 w 447102"/>
              <a:gd name="connsiteY4" fmla="*/ 500902 h 607216"/>
              <a:gd name="connsiteX5" fmla="*/ 345526 w 447102"/>
              <a:gd name="connsiteY5" fmla="*/ 487600 h 607216"/>
              <a:gd name="connsiteX6" fmla="*/ 101680 w 447102"/>
              <a:gd name="connsiteY6" fmla="*/ 386587 h 607216"/>
              <a:gd name="connsiteX7" fmla="*/ 101680 w 447102"/>
              <a:gd name="connsiteY7" fmla="*/ 487600 h 607216"/>
              <a:gd name="connsiteX8" fmla="*/ 120934 w 447102"/>
              <a:gd name="connsiteY8" fmla="*/ 500902 h 607216"/>
              <a:gd name="connsiteX9" fmla="*/ 120206 w 447102"/>
              <a:gd name="connsiteY9" fmla="*/ 545382 h 607216"/>
              <a:gd name="connsiteX10" fmla="*/ 207212 w 447102"/>
              <a:gd name="connsiteY10" fmla="*/ 569284 h 607216"/>
              <a:gd name="connsiteX11" fmla="*/ 207212 w 447102"/>
              <a:gd name="connsiteY11" fmla="*/ 415581 h 607216"/>
              <a:gd name="connsiteX12" fmla="*/ 188062 w 447102"/>
              <a:gd name="connsiteY12" fmla="*/ 249096 h 607216"/>
              <a:gd name="connsiteX13" fmla="*/ 221678 w 447102"/>
              <a:gd name="connsiteY13" fmla="*/ 282455 h 607216"/>
              <a:gd name="connsiteX14" fmla="*/ 207836 w 447102"/>
              <a:gd name="connsiteY14" fmla="*/ 381806 h 607216"/>
              <a:gd name="connsiteX15" fmla="*/ 223551 w 447102"/>
              <a:gd name="connsiteY15" fmla="*/ 386171 h 607216"/>
              <a:gd name="connsiteX16" fmla="*/ 239370 w 447102"/>
              <a:gd name="connsiteY16" fmla="*/ 381806 h 607216"/>
              <a:gd name="connsiteX17" fmla="*/ 225529 w 447102"/>
              <a:gd name="connsiteY17" fmla="*/ 282455 h 607216"/>
              <a:gd name="connsiteX18" fmla="*/ 259040 w 447102"/>
              <a:gd name="connsiteY18" fmla="*/ 249096 h 607216"/>
              <a:gd name="connsiteX19" fmla="*/ 279959 w 447102"/>
              <a:gd name="connsiteY19" fmla="*/ 266659 h 607216"/>
              <a:gd name="connsiteX20" fmla="*/ 323462 w 447102"/>
              <a:gd name="connsiteY20" fmla="*/ 286716 h 607216"/>
              <a:gd name="connsiteX21" fmla="*/ 329290 w 447102"/>
              <a:gd name="connsiteY21" fmla="*/ 289522 h 607216"/>
              <a:gd name="connsiteX22" fmla="*/ 404432 w 447102"/>
              <a:gd name="connsiteY22" fmla="*/ 381910 h 607216"/>
              <a:gd name="connsiteX23" fmla="*/ 446998 w 447102"/>
              <a:gd name="connsiteY23" fmla="*/ 535509 h 607216"/>
              <a:gd name="connsiteX24" fmla="*/ 447102 w 447102"/>
              <a:gd name="connsiteY24" fmla="*/ 538107 h 607216"/>
              <a:gd name="connsiteX25" fmla="*/ 400789 w 447102"/>
              <a:gd name="connsiteY25" fmla="*/ 581547 h 607216"/>
              <a:gd name="connsiteX26" fmla="*/ 395273 w 447102"/>
              <a:gd name="connsiteY26" fmla="*/ 581131 h 607216"/>
              <a:gd name="connsiteX27" fmla="*/ 361241 w 447102"/>
              <a:gd name="connsiteY27" fmla="*/ 569908 h 607216"/>
              <a:gd name="connsiteX28" fmla="*/ 227922 w 447102"/>
              <a:gd name="connsiteY28" fmla="*/ 606593 h 607216"/>
              <a:gd name="connsiteX29" fmla="*/ 226882 w 447102"/>
              <a:gd name="connsiteY29" fmla="*/ 606800 h 607216"/>
              <a:gd name="connsiteX30" fmla="*/ 225945 w 447102"/>
              <a:gd name="connsiteY30" fmla="*/ 607008 h 607216"/>
              <a:gd name="connsiteX31" fmla="*/ 223551 w 447102"/>
              <a:gd name="connsiteY31" fmla="*/ 607216 h 607216"/>
              <a:gd name="connsiteX32" fmla="*/ 221158 w 447102"/>
              <a:gd name="connsiteY32" fmla="*/ 607008 h 607216"/>
              <a:gd name="connsiteX33" fmla="*/ 220429 w 447102"/>
              <a:gd name="connsiteY33" fmla="*/ 606800 h 607216"/>
              <a:gd name="connsiteX34" fmla="*/ 220221 w 447102"/>
              <a:gd name="connsiteY34" fmla="*/ 606800 h 607216"/>
              <a:gd name="connsiteX35" fmla="*/ 219180 w 447102"/>
              <a:gd name="connsiteY35" fmla="*/ 606593 h 607216"/>
              <a:gd name="connsiteX36" fmla="*/ 85861 w 447102"/>
              <a:gd name="connsiteY36" fmla="*/ 569908 h 607216"/>
              <a:gd name="connsiteX37" fmla="*/ 51933 w 447102"/>
              <a:gd name="connsiteY37" fmla="*/ 581131 h 607216"/>
              <a:gd name="connsiteX38" fmla="*/ 46313 w 447102"/>
              <a:gd name="connsiteY38" fmla="*/ 581547 h 607216"/>
              <a:gd name="connsiteX39" fmla="*/ 0 w 447102"/>
              <a:gd name="connsiteY39" fmla="*/ 538107 h 607216"/>
              <a:gd name="connsiteX40" fmla="*/ 104 w 447102"/>
              <a:gd name="connsiteY40" fmla="*/ 535509 h 607216"/>
              <a:gd name="connsiteX41" fmla="*/ 42670 w 447102"/>
              <a:gd name="connsiteY41" fmla="*/ 381910 h 607216"/>
              <a:gd name="connsiteX42" fmla="*/ 117916 w 447102"/>
              <a:gd name="connsiteY42" fmla="*/ 289522 h 607216"/>
              <a:gd name="connsiteX43" fmla="*/ 123744 w 447102"/>
              <a:gd name="connsiteY43" fmla="*/ 286716 h 607216"/>
              <a:gd name="connsiteX44" fmla="*/ 167247 w 447102"/>
              <a:gd name="connsiteY44" fmla="*/ 266659 h 607216"/>
              <a:gd name="connsiteX45" fmla="*/ 184672 w 447102"/>
              <a:gd name="connsiteY45" fmla="*/ 89514 h 607216"/>
              <a:gd name="connsiteX46" fmla="*/ 144544 w 447102"/>
              <a:gd name="connsiteY46" fmla="*/ 125639 h 607216"/>
              <a:gd name="connsiteX47" fmla="*/ 223551 w 447102"/>
              <a:gd name="connsiteY47" fmla="*/ 226753 h 607216"/>
              <a:gd name="connsiteX48" fmla="*/ 302663 w 447102"/>
              <a:gd name="connsiteY48" fmla="*/ 125639 h 607216"/>
              <a:gd name="connsiteX49" fmla="*/ 202628 w 447102"/>
              <a:gd name="connsiteY49" fmla="*/ 127822 h 607216"/>
              <a:gd name="connsiteX50" fmla="*/ 184672 w 447102"/>
              <a:gd name="connsiteY50" fmla="*/ 89514 h 607216"/>
              <a:gd name="connsiteX51" fmla="*/ 223551 w 447102"/>
              <a:gd name="connsiteY51" fmla="*/ 0 h 607216"/>
              <a:gd name="connsiteX52" fmla="*/ 327646 w 447102"/>
              <a:gd name="connsiteY52" fmla="*/ 102153 h 607216"/>
              <a:gd name="connsiteX53" fmla="*/ 223551 w 447102"/>
              <a:gd name="connsiteY53" fmla="*/ 249096 h 607216"/>
              <a:gd name="connsiteX54" fmla="*/ 119457 w 447102"/>
              <a:gd name="connsiteY54" fmla="*/ 102153 h 607216"/>
              <a:gd name="connsiteX55" fmla="*/ 223551 w 447102"/>
              <a:gd name="connsiteY55" fmla="*/ 0 h 607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447102" h="607216">
                <a:moveTo>
                  <a:pt x="345526" y="386587"/>
                </a:moveTo>
                <a:lnTo>
                  <a:pt x="239995" y="415581"/>
                </a:lnTo>
                <a:lnTo>
                  <a:pt x="239995" y="569388"/>
                </a:lnTo>
                <a:lnTo>
                  <a:pt x="326897" y="545382"/>
                </a:lnTo>
                <a:cubicBezTo>
                  <a:pt x="316906" y="532703"/>
                  <a:pt x="316177" y="514516"/>
                  <a:pt x="326272" y="500902"/>
                </a:cubicBezTo>
                <a:cubicBezTo>
                  <a:pt x="331268" y="494251"/>
                  <a:pt x="338137" y="489783"/>
                  <a:pt x="345526" y="487600"/>
                </a:cubicBezTo>
                <a:close/>
                <a:moveTo>
                  <a:pt x="101680" y="386587"/>
                </a:moveTo>
                <a:lnTo>
                  <a:pt x="101680" y="487600"/>
                </a:lnTo>
                <a:cubicBezTo>
                  <a:pt x="109069" y="489783"/>
                  <a:pt x="115938" y="494251"/>
                  <a:pt x="120934" y="500902"/>
                </a:cubicBezTo>
                <a:cubicBezTo>
                  <a:pt x="131029" y="514516"/>
                  <a:pt x="130301" y="532703"/>
                  <a:pt x="120206" y="545382"/>
                </a:cubicBezTo>
                <a:lnTo>
                  <a:pt x="207212" y="569284"/>
                </a:lnTo>
                <a:lnTo>
                  <a:pt x="207212" y="415581"/>
                </a:lnTo>
                <a:close/>
                <a:moveTo>
                  <a:pt x="188062" y="249096"/>
                </a:moveTo>
                <a:lnTo>
                  <a:pt x="221678" y="282455"/>
                </a:lnTo>
                <a:lnTo>
                  <a:pt x="207836" y="381806"/>
                </a:lnTo>
                <a:lnTo>
                  <a:pt x="223551" y="386171"/>
                </a:lnTo>
                <a:lnTo>
                  <a:pt x="239370" y="381806"/>
                </a:lnTo>
                <a:lnTo>
                  <a:pt x="225529" y="282455"/>
                </a:lnTo>
                <a:lnTo>
                  <a:pt x="259040" y="249096"/>
                </a:lnTo>
                <a:lnTo>
                  <a:pt x="279959" y="266659"/>
                </a:lnTo>
                <a:lnTo>
                  <a:pt x="323462" y="286716"/>
                </a:lnTo>
                <a:cubicBezTo>
                  <a:pt x="324711" y="287236"/>
                  <a:pt x="328562" y="289107"/>
                  <a:pt x="329290" y="289522"/>
                </a:cubicBezTo>
                <a:cubicBezTo>
                  <a:pt x="369255" y="311554"/>
                  <a:pt x="387988" y="348966"/>
                  <a:pt x="404432" y="381910"/>
                </a:cubicBezTo>
                <a:cubicBezTo>
                  <a:pt x="404432" y="381910"/>
                  <a:pt x="446998" y="462035"/>
                  <a:pt x="446998" y="535509"/>
                </a:cubicBezTo>
                <a:cubicBezTo>
                  <a:pt x="446998" y="536340"/>
                  <a:pt x="447102" y="537276"/>
                  <a:pt x="447102" y="538107"/>
                </a:cubicBezTo>
                <a:cubicBezTo>
                  <a:pt x="447102" y="562113"/>
                  <a:pt x="426392" y="581547"/>
                  <a:pt x="400789" y="581547"/>
                </a:cubicBezTo>
                <a:cubicBezTo>
                  <a:pt x="398916" y="581547"/>
                  <a:pt x="397147" y="581443"/>
                  <a:pt x="395273" y="581131"/>
                </a:cubicBezTo>
                <a:cubicBezTo>
                  <a:pt x="382368" y="579157"/>
                  <a:pt x="371232" y="575104"/>
                  <a:pt x="361241" y="569908"/>
                </a:cubicBezTo>
                <a:lnTo>
                  <a:pt x="227922" y="606593"/>
                </a:lnTo>
                <a:cubicBezTo>
                  <a:pt x="227610" y="606696"/>
                  <a:pt x="227298" y="606800"/>
                  <a:pt x="226882" y="606800"/>
                </a:cubicBezTo>
                <a:cubicBezTo>
                  <a:pt x="226569" y="606904"/>
                  <a:pt x="226257" y="607008"/>
                  <a:pt x="225945" y="607008"/>
                </a:cubicBezTo>
                <a:cubicBezTo>
                  <a:pt x="225216" y="607112"/>
                  <a:pt x="224384" y="607216"/>
                  <a:pt x="223551" y="607216"/>
                </a:cubicBezTo>
                <a:cubicBezTo>
                  <a:pt x="222823" y="607216"/>
                  <a:pt x="221990" y="607112"/>
                  <a:pt x="221158" y="607008"/>
                </a:cubicBezTo>
                <a:cubicBezTo>
                  <a:pt x="220949" y="607008"/>
                  <a:pt x="220637" y="606904"/>
                  <a:pt x="220429" y="606800"/>
                </a:cubicBezTo>
                <a:lnTo>
                  <a:pt x="220221" y="606800"/>
                </a:lnTo>
                <a:cubicBezTo>
                  <a:pt x="219909" y="606800"/>
                  <a:pt x="219596" y="606696"/>
                  <a:pt x="219180" y="606593"/>
                </a:cubicBezTo>
                <a:lnTo>
                  <a:pt x="85861" y="569908"/>
                </a:lnTo>
                <a:cubicBezTo>
                  <a:pt x="75870" y="575104"/>
                  <a:pt x="64838" y="579157"/>
                  <a:pt x="51933" y="581131"/>
                </a:cubicBezTo>
                <a:cubicBezTo>
                  <a:pt x="50059" y="581443"/>
                  <a:pt x="48186" y="581547"/>
                  <a:pt x="46313" y="581547"/>
                </a:cubicBezTo>
                <a:cubicBezTo>
                  <a:pt x="20815" y="581547"/>
                  <a:pt x="0" y="562113"/>
                  <a:pt x="0" y="538107"/>
                </a:cubicBezTo>
                <a:cubicBezTo>
                  <a:pt x="0" y="537276"/>
                  <a:pt x="104" y="536340"/>
                  <a:pt x="104" y="535509"/>
                </a:cubicBezTo>
                <a:cubicBezTo>
                  <a:pt x="7077" y="454553"/>
                  <a:pt x="42670" y="381910"/>
                  <a:pt x="42670" y="381910"/>
                </a:cubicBezTo>
                <a:cubicBezTo>
                  <a:pt x="59218" y="348966"/>
                  <a:pt x="77847" y="311554"/>
                  <a:pt x="117916" y="289522"/>
                </a:cubicBezTo>
                <a:cubicBezTo>
                  <a:pt x="118644" y="289107"/>
                  <a:pt x="122495" y="287236"/>
                  <a:pt x="123744" y="286716"/>
                </a:cubicBezTo>
                <a:lnTo>
                  <a:pt x="167247" y="266659"/>
                </a:lnTo>
                <a:close/>
                <a:moveTo>
                  <a:pt x="184672" y="89514"/>
                </a:moveTo>
                <a:cubicBezTo>
                  <a:pt x="164816" y="87682"/>
                  <a:pt x="141265" y="98256"/>
                  <a:pt x="144544" y="125639"/>
                </a:cubicBezTo>
                <a:cubicBezTo>
                  <a:pt x="150581" y="176248"/>
                  <a:pt x="180352" y="226753"/>
                  <a:pt x="223551" y="226753"/>
                </a:cubicBezTo>
                <a:cubicBezTo>
                  <a:pt x="264773" y="226753"/>
                  <a:pt x="302247" y="165960"/>
                  <a:pt x="302663" y="125639"/>
                </a:cubicBezTo>
                <a:cubicBezTo>
                  <a:pt x="303392" y="58403"/>
                  <a:pt x="256445" y="133537"/>
                  <a:pt x="202628" y="127822"/>
                </a:cubicBezTo>
                <a:cubicBezTo>
                  <a:pt x="220689" y="105583"/>
                  <a:pt x="204528" y="91346"/>
                  <a:pt x="184672" y="89514"/>
                </a:cubicBezTo>
                <a:close/>
                <a:moveTo>
                  <a:pt x="223551" y="0"/>
                </a:moveTo>
                <a:cubicBezTo>
                  <a:pt x="297875" y="0"/>
                  <a:pt x="328270" y="38243"/>
                  <a:pt x="327646" y="102153"/>
                </a:cubicBezTo>
                <a:cubicBezTo>
                  <a:pt x="326709" y="194226"/>
                  <a:pt x="267583" y="249096"/>
                  <a:pt x="223551" y="249096"/>
                </a:cubicBezTo>
                <a:cubicBezTo>
                  <a:pt x="172025" y="249096"/>
                  <a:pt x="120498" y="194226"/>
                  <a:pt x="119457" y="102153"/>
                </a:cubicBezTo>
                <a:cubicBezTo>
                  <a:pt x="118832" y="38243"/>
                  <a:pt x="149332" y="0"/>
                  <a:pt x="22355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solidFill>
                <a:schemeClr val="bg1"/>
              </a:solidFill>
            </a:endParaRPr>
          </a:p>
        </p:txBody>
      </p:sp>
      <p:sp>
        <p:nvSpPr>
          <p:cNvPr id="36" name="îṡlíḋè">
            <a:extLst>
              <a:ext uri="{FF2B5EF4-FFF2-40B4-BE49-F238E27FC236}">
                <a16:creationId xmlns:a16="http://schemas.microsoft.com/office/drawing/2014/main" id="{FCBCE448-A746-45FC-ABE2-27B64D489326}"/>
              </a:ext>
            </a:extLst>
          </p:cNvPr>
          <p:cNvSpPr txBox="1"/>
          <p:nvPr/>
        </p:nvSpPr>
        <p:spPr bwMode="auto">
          <a:xfrm>
            <a:off x="9349423" y="4936799"/>
            <a:ext cx="2369459" cy="400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b="1" dirty="0" smtClean="0">
                <a:solidFill>
                  <a:schemeClr val="bg1"/>
                </a:solidFill>
              </a:rPr>
              <a:t>王子芃</a:t>
            </a:r>
            <a:endParaRPr lang="en-US" altLang="zh-CN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63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项目简介</a:t>
                </a:r>
                <a:endParaRPr lang="en-US" altLang="zh-CN" sz="40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技术说明</a:t>
                </a:r>
                <a:endParaRPr lang="en-US" altLang="zh-CN" sz="40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系统功能</a:t>
                </a:r>
                <a:endParaRPr lang="en-US" altLang="zh-CN" sz="4000" b="0" dirty="0" smtClean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项目总结</a:t>
                </a:r>
                <a:endParaRPr lang="en-US" altLang="zh-CN" sz="4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项目简介</a:t>
            </a:r>
            <a:endParaRPr lang="zh-CN" altLang="en-US" sz="4800" dirty="0"/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1EF15F11-43C9-46B4-A251-6E6BFF17E647}"/>
              </a:ext>
            </a:extLst>
          </p:cNvPr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60787578-92C1-4BF2-89D1-8ECE42FF765C}"/>
              </a:ext>
            </a:extLst>
          </p:cNvPr>
          <p:cNvCxnSpPr>
            <a:cxnSpLocks/>
          </p:cNvCxnSpPr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>
            <a:extLst>
              <a:ext uri="{FF2B5EF4-FFF2-40B4-BE49-F238E27FC236}">
                <a16:creationId xmlns:a16="http://schemas.microsoft.com/office/drawing/2014/main" id="{309F3FF9-E043-4B12-ADA3-E580F73A9191}"/>
              </a:ext>
            </a:extLst>
          </p:cNvPr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D57D805-4545-4C42-A553-3B1CB655C465}"/>
                </a:ext>
              </a:extLst>
            </p:cNvPr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33E383B-784A-4CFC-8B9B-10CAE15FC541}"/>
                </a:ext>
              </a:extLst>
            </p:cNvPr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D8A1CC8A-F4DE-4605-9782-7C05DB5F551E}"/>
                </a:ext>
              </a:extLst>
            </p:cNvPr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CC7B58F-FDC2-4175-A147-3BDB2D456081}"/>
                </a:ext>
              </a:extLst>
            </p:cNvPr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43074D3-95FC-445F-9F89-2FD7C5DC0F5A}"/>
                </a:ext>
              </a:extLst>
            </p:cNvPr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D3DC055-74BB-481F-89AD-C29BDF7722D4}"/>
                </a:ext>
              </a:extLst>
            </p:cNvPr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项目简介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967059" y="1835134"/>
            <a:ext cx="39147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数据库管理系统</a:t>
            </a:r>
            <a:r>
              <a:rPr lang="en-US" altLang="zh-CN" dirty="0"/>
              <a:t>(Database Management System)</a:t>
            </a:r>
            <a:r>
              <a:rPr lang="zh-CN" altLang="en-US" dirty="0"/>
              <a:t>是一种操纵和管理数据库的大型</a:t>
            </a:r>
            <a:r>
              <a:rPr lang="zh-CN" altLang="en-US" dirty="0" smtClean="0"/>
              <a:t>软件。</a:t>
            </a:r>
            <a:endParaRPr lang="zh-CN" altLang="en-US" dirty="0"/>
          </a:p>
        </p:txBody>
      </p:sp>
      <p:sp>
        <p:nvSpPr>
          <p:cNvPr id="36" name="文本框 35"/>
          <p:cNvSpPr txBox="1"/>
          <p:nvPr/>
        </p:nvSpPr>
        <p:spPr>
          <a:xfrm>
            <a:off x="972868" y="3721702"/>
            <a:ext cx="39500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本系统是根据现有的</a:t>
            </a:r>
            <a:r>
              <a:rPr lang="en-US" altLang="zh-CN" dirty="0" smtClean="0"/>
              <a:t>R-DBMS</a:t>
            </a:r>
            <a:r>
              <a:rPr lang="zh-CN" altLang="en-US" dirty="0" smtClean="0"/>
              <a:t>架构所设计并实现的一款数据库管理系统。功能上尽可能的支持了</a:t>
            </a:r>
            <a:r>
              <a:rPr lang="en-US" altLang="zh-CN" dirty="0" smtClean="0"/>
              <a:t>MySQL</a:t>
            </a:r>
            <a:r>
              <a:rPr lang="zh-CN" altLang="en-US" dirty="0" smtClean="0"/>
              <a:t>、</a:t>
            </a:r>
            <a:r>
              <a:rPr lang="en-US" altLang="zh-CN" dirty="0" smtClean="0"/>
              <a:t>Oracle</a:t>
            </a:r>
            <a:r>
              <a:rPr lang="zh-CN" altLang="en-US" dirty="0" smtClean="0"/>
              <a:t>的一些语句，并简化了操作。</a:t>
            </a:r>
            <a:endParaRPr lang="zh-CN" altLang="en-US" dirty="0"/>
          </a:p>
        </p:txBody>
      </p:sp>
      <p:grpSp>
        <p:nvGrpSpPr>
          <p:cNvPr id="37" name="4f4c28d2-4455-4e6f-b51e-77feae9f089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002665" y="1677988"/>
            <a:ext cx="6682470" cy="3482974"/>
            <a:chOff x="2754765" y="1687513"/>
            <a:chExt cx="6682470" cy="3482974"/>
          </a:xfrm>
        </p:grpSpPr>
        <p:sp>
          <p:nvSpPr>
            <p:cNvPr id="38" name="î$ļïḑé">
              <a:extLst>
                <a:ext uri="{FF2B5EF4-FFF2-40B4-BE49-F238E27FC236}">
                  <a16:creationId xmlns:a16="http://schemas.microsoft.com/office/drawing/2014/main" id="{134DC951-0773-43FF-B84A-B02567921F11}"/>
                </a:ext>
              </a:extLst>
            </p:cNvPr>
            <p:cNvSpPr/>
            <p:nvPr/>
          </p:nvSpPr>
          <p:spPr bwMode="auto">
            <a:xfrm>
              <a:off x="2754765" y="4892194"/>
              <a:ext cx="6428377" cy="278293"/>
            </a:xfrm>
            <a:prstGeom prst="ellipse">
              <a:avLst/>
            </a:prstGeom>
            <a:solidFill>
              <a:srgbClr val="3047C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śliḑè">
              <a:extLst>
                <a:ext uri="{FF2B5EF4-FFF2-40B4-BE49-F238E27FC236}">
                  <a16:creationId xmlns:a16="http://schemas.microsoft.com/office/drawing/2014/main" id="{B148CE5A-3DAF-4D3F-AEEF-01ED46ADD7D2}"/>
                </a:ext>
              </a:extLst>
            </p:cNvPr>
            <p:cNvSpPr/>
            <p:nvPr/>
          </p:nvSpPr>
          <p:spPr bwMode="auto">
            <a:xfrm>
              <a:off x="8534945" y="1687513"/>
              <a:ext cx="532385" cy="115812"/>
            </a:xfrm>
            <a:custGeom>
              <a:avLst/>
              <a:gdLst>
                <a:gd name="T0" fmla="*/ 62 w 69"/>
                <a:gd name="T1" fmla="*/ 0 h 15"/>
                <a:gd name="T2" fmla="*/ 8 w 69"/>
                <a:gd name="T3" fmla="*/ 0 h 15"/>
                <a:gd name="T4" fmla="*/ 0 w 69"/>
                <a:gd name="T5" fmla="*/ 8 h 15"/>
                <a:gd name="T6" fmla="*/ 8 w 69"/>
                <a:gd name="T7" fmla="*/ 15 h 15"/>
                <a:gd name="T8" fmla="*/ 62 w 69"/>
                <a:gd name="T9" fmla="*/ 15 h 15"/>
                <a:gd name="T10" fmla="*/ 69 w 69"/>
                <a:gd name="T11" fmla="*/ 8 h 15"/>
                <a:gd name="T12" fmla="*/ 62 w 69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5">
                  <a:moveTo>
                    <a:pt x="6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5"/>
                    <a:pt x="8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6" y="15"/>
                    <a:pt x="69" y="12"/>
                    <a:pt x="69" y="8"/>
                  </a:cubicBezTo>
                  <a:cubicBezTo>
                    <a:pt x="69" y="4"/>
                    <a:pt x="66" y="0"/>
                    <a:pt x="62" y="0"/>
                  </a:cubicBezTo>
                </a:path>
              </a:pathLst>
            </a:custGeom>
            <a:gradFill>
              <a:gsLst>
                <a:gs pos="8000">
                  <a:srgbClr val="4DE7FB">
                    <a:alpha val="50000"/>
                  </a:srgbClr>
                </a:gs>
                <a:gs pos="100000">
                  <a:srgbClr val="9CEBF4">
                    <a:alpha val="5000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Sľíďè">
              <a:extLst>
                <a:ext uri="{FF2B5EF4-FFF2-40B4-BE49-F238E27FC236}">
                  <a16:creationId xmlns:a16="http://schemas.microsoft.com/office/drawing/2014/main" id="{F31934CE-DFC5-46E2-85F1-B9E7FA7CD504}"/>
                </a:ext>
              </a:extLst>
            </p:cNvPr>
            <p:cNvSpPr/>
            <p:nvPr/>
          </p:nvSpPr>
          <p:spPr bwMode="auto">
            <a:xfrm>
              <a:off x="4581814" y="2206070"/>
              <a:ext cx="3790651" cy="2694768"/>
            </a:xfrm>
            <a:custGeom>
              <a:avLst/>
              <a:gdLst>
                <a:gd name="T0" fmla="*/ 470 w 492"/>
                <a:gd name="T1" fmla="*/ 349 h 349"/>
                <a:gd name="T2" fmla="*/ 22 w 492"/>
                <a:gd name="T3" fmla="*/ 349 h 349"/>
                <a:gd name="T4" fmla="*/ 0 w 492"/>
                <a:gd name="T5" fmla="*/ 327 h 349"/>
                <a:gd name="T6" fmla="*/ 0 w 492"/>
                <a:gd name="T7" fmla="*/ 22 h 349"/>
                <a:gd name="T8" fmla="*/ 22 w 492"/>
                <a:gd name="T9" fmla="*/ 0 h 349"/>
                <a:gd name="T10" fmla="*/ 470 w 492"/>
                <a:gd name="T11" fmla="*/ 0 h 349"/>
                <a:gd name="T12" fmla="*/ 492 w 492"/>
                <a:gd name="T13" fmla="*/ 22 h 349"/>
                <a:gd name="T14" fmla="*/ 492 w 492"/>
                <a:gd name="T15" fmla="*/ 327 h 349"/>
                <a:gd name="T16" fmla="*/ 470 w 492"/>
                <a:gd name="T1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2" h="349">
                  <a:moveTo>
                    <a:pt x="470" y="349"/>
                  </a:moveTo>
                  <a:cubicBezTo>
                    <a:pt x="22" y="349"/>
                    <a:pt x="22" y="349"/>
                    <a:pt x="22" y="349"/>
                  </a:cubicBezTo>
                  <a:cubicBezTo>
                    <a:pt x="10" y="349"/>
                    <a:pt x="0" y="339"/>
                    <a:pt x="0" y="3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470" y="0"/>
                    <a:pt x="470" y="0"/>
                    <a:pt x="470" y="0"/>
                  </a:cubicBezTo>
                  <a:cubicBezTo>
                    <a:pt x="482" y="0"/>
                    <a:pt x="492" y="10"/>
                    <a:pt x="492" y="22"/>
                  </a:cubicBezTo>
                  <a:cubicBezTo>
                    <a:pt x="492" y="327"/>
                    <a:pt x="492" y="327"/>
                    <a:pt x="492" y="327"/>
                  </a:cubicBezTo>
                  <a:cubicBezTo>
                    <a:pt x="492" y="339"/>
                    <a:pt x="482" y="349"/>
                    <a:pt x="470" y="349"/>
                  </a:cubicBezTo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$ľídè">
              <a:extLst>
                <a:ext uri="{FF2B5EF4-FFF2-40B4-BE49-F238E27FC236}">
                  <a16:creationId xmlns:a16="http://schemas.microsoft.com/office/drawing/2014/main" id="{8882C0F0-B701-4878-B4B7-EE6B0174271A}"/>
                </a:ext>
              </a:extLst>
            </p:cNvPr>
            <p:cNvSpPr/>
            <p:nvPr/>
          </p:nvSpPr>
          <p:spPr bwMode="auto">
            <a:xfrm>
              <a:off x="4635398" y="2244097"/>
              <a:ext cx="3692125" cy="2625627"/>
            </a:xfrm>
            <a:custGeom>
              <a:avLst/>
              <a:gdLst>
                <a:gd name="T0" fmla="*/ 461 w 479"/>
                <a:gd name="T1" fmla="*/ 340 h 340"/>
                <a:gd name="T2" fmla="*/ 17 w 479"/>
                <a:gd name="T3" fmla="*/ 340 h 340"/>
                <a:gd name="T4" fmla="*/ 0 w 479"/>
                <a:gd name="T5" fmla="*/ 322 h 340"/>
                <a:gd name="T6" fmla="*/ 0 w 479"/>
                <a:gd name="T7" fmla="*/ 17 h 340"/>
                <a:gd name="T8" fmla="*/ 17 w 479"/>
                <a:gd name="T9" fmla="*/ 0 h 340"/>
                <a:gd name="T10" fmla="*/ 461 w 479"/>
                <a:gd name="T11" fmla="*/ 0 h 340"/>
                <a:gd name="T12" fmla="*/ 479 w 479"/>
                <a:gd name="T13" fmla="*/ 17 h 340"/>
                <a:gd name="T14" fmla="*/ 479 w 479"/>
                <a:gd name="T15" fmla="*/ 322 h 340"/>
                <a:gd name="T16" fmla="*/ 461 w 479"/>
                <a:gd name="T1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340">
                  <a:moveTo>
                    <a:pt x="461" y="340"/>
                  </a:moveTo>
                  <a:cubicBezTo>
                    <a:pt x="17" y="340"/>
                    <a:pt x="17" y="340"/>
                    <a:pt x="17" y="340"/>
                  </a:cubicBezTo>
                  <a:cubicBezTo>
                    <a:pt x="8" y="340"/>
                    <a:pt x="0" y="332"/>
                    <a:pt x="0" y="32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471" y="0"/>
                    <a:pt x="479" y="7"/>
                    <a:pt x="479" y="17"/>
                  </a:cubicBezTo>
                  <a:cubicBezTo>
                    <a:pt x="479" y="322"/>
                    <a:pt x="479" y="322"/>
                    <a:pt x="479" y="322"/>
                  </a:cubicBezTo>
                  <a:cubicBezTo>
                    <a:pt x="479" y="332"/>
                    <a:pt x="471" y="340"/>
                    <a:pt x="461" y="340"/>
                  </a:cubicBezTo>
                </a:path>
              </a:pathLst>
            </a:custGeom>
            <a:solidFill>
              <a:srgbClr val="1A2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ṣľide">
              <a:extLst>
                <a:ext uri="{FF2B5EF4-FFF2-40B4-BE49-F238E27FC236}">
                  <a16:creationId xmlns:a16="http://schemas.microsoft.com/office/drawing/2014/main" id="{ED15ACA3-1687-44AB-BAE2-C2014253B529}"/>
                </a:ext>
              </a:extLst>
            </p:cNvPr>
            <p:cNvSpPr/>
            <p:nvPr/>
          </p:nvSpPr>
          <p:spPr bwMode="auto">
            <a:xfrm>
              <a:off x="4796151" y="2366822"/>
              <a:ext cx="3368891" cy="2271279"/>
            </a:xfrm>
            <a:custGeom>
              <a:avLst/>
              <a:gdLst>
                <a:gd name="T0" fmla="*/ 426 w 437"/>
                <a:gd name="T1" fmla="*/ 294 h 294"/>
                <a:gd name="T2" fmla="*/ 10 w 437"/>
                <a:gd name="T3" fmla="*/ 294 h 294"/>
                <a:gd name="T4" fmla="*/ 0 w 437"/>
                <a:gd name="T5" fmla="*/ 283 h 294"/>
                <a:gd name="T6" fmla="*/ 0 w 437"/>
                <a:gd name="T7" fmla="*/ 10 h 294"/>
                <a:gd name="T8" fmla="*/ 10 w 437"/>
                <a:gd name="T9" fmla="*/ 0 h 294"/>
                <a:gd name="T10" fmla="*/ 426 w 437"/>
                <a:gd name="T11" fmla="*/ 0 h 294"/>
                <a:gd name="T12" fmla="*/ 437 w 437"/>
                <a:gd name="T13" fmla="*/ 10 h 294"/>
                <a:gd name="T14" fmla="*/ 437 w 437"/>
                <a:gd name="T15" fmla="*/ 283 h 294"/>
                <a:gd name="T16" fmla="*/ 426 w 437"/>
                <a:gd name="T17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7" h="294">
                  <a:moveTo>
                    <a:pt x="426" y="294"/>
                  </a:moveTo>
                  <a:cubicBezTo>
                    <a:pt x="10" y="294"/>
                    <a:pt x="10" y="294"/>
                    <a:pt x="10" y="294"/>
                  </a:cubicBezTo>
                  <a:cubicBezTo>
                    <a:pt x="4" y="294"/>
                    <a:pt x="0" y="289"/>
                    <a:pt x="0" y="28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32" y="0"/>
                    <a:pt x="437" y="4"/>
                    <a:pt x="437" y="10"/>
                  </a:cubicBezTo>
                  <a:cubicBezTo>
                    <a:pt x="437" y="283"/>
                    <a:pt x="437" y="283"/>
                    <a:pt x="437" y="283"/>
                  </a:cubicBezTo>
                  <a:cubicBezTo>
                    <a:pt x="437" y="289"/>
                    <a:pt x="432" y="294"/>
                    <a:pt x="426" y="294"/>
                  </a:cubicBezTo>
                </a:path>
              </a:pathLst>
            </a:custGeom>
            <a:gradFill>
              <a:gsLst>
                <a:gs pos="0">
                  <a:srgbClr val="2F28A2"/>
                </a:gs>
                <a:gs pos="100000">
                  <a:srgbClr val="2F28A2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ṧḷïďe">
              <a:extLst>
                <a:ext uri="{FF2B5EF4-FFF2-40B4-BE49-F238E27FC236}">
                  <a16:creationId xmlns:a16="http://schemas.microsoft.com/office/drawing/2014/main" id="{ADB7D2A0-5620-40A9-B77E-463073CF6FE7}"/>
                </a:ext>
              </a:extLst>
            </p:cNvPr>
            <p:cNvSpPr/>
            <p:nvPr/>
          </p:nvSpPr>
          <p:spPr bwMode="auto">
            <a:xfrm>
              <a:off x="4472917" y="4760827"/>
              <a:ext cx="4008445" cy="209152"/>
            </a:xfrm>
            <a:custGeom>
              <a:avLst/>
              <a:gdLst>
                <a:gd name="T0" fmla="*/ 3 w 520"/>
                <a:gd name="T1" fmla="*/ 0 h 27"/>
                <a:gd name="T2" fmla="*/ 0 w 520"/>
                <a:gd name="T3" fmla="*/ 9 h 27"/>
                <a:gd name="T4" fmla="*/ 19 w 520"/>
                <a:gd name="T5" fmla="*/ 27 h 27"/>
                <a:gd name="T6" fmla="*/ 502 w 520"/>
                <a:gd name="T7" fmla="*/ 27 h 27"/>
                <a:gd name="T8" fmla="*/ 520 w 520"/>
                <a:gd name="T9" fmla="*/ 9 h 27"/>
                <a:gd name="T10" fmla="*/ 518 w 520"/>
                <a:gd name="T11" fmla="*/ 0 h 27"/>
                <a:gd name="T12" fmla="*/ 3 w 52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0" h="27">
                  <a:moveTo>
                    <a:pt x="3" y="0"/>
                  </a:moveTo>
                  <a:cubicBezTo>
                    <a:pt x="1" y="3"/>
                    <a:pt x="0" y="6"/>
                    <a:pt x="0" y="9"/>
                  </a:cubicBezTo>
                  <a:cubicBezTo>
                    <a:pt x="0" y="19"/>
                    <a:pt x="9" y="27"/>
                    <a:pt x="19" y="27"/>
                  </a:cubicBezTo>
                  <a:cubicBezTo>
                    <a:pt x="502" y="27"/>
                    <a:pt x="502" y="27"/>
                    <a:pt x="502" y="27"/>
                  </a:cubicBezTo>
                  <a:cubicBezTo>
                    <a:pt x="512" y="27"/>
                    <a:pt x="520" y="19"/>
                    <a:pt x="520" y="9"/>
                  </a:cubicBezTo>
                  <a:cubicBezTo>
                    <a:pt x="520" y="6"/>
                    <a:pt x="519" y="3"/>
                    <a:pt x="5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sḷîḓè">
              <a:extLst>
                <a:ext uri="{FF2B5EF4-FFF2-40B4-BE49-F238E27FC236}">
                  <a16:creationId xmlns:a16="http://schemas.microsoft.com/office/drawing/2014/main" id="{33E347EF-C742-4DBA-BCA4-D6A0608F2E63}"/>
                </a:ext>
              </a:extLst>
            </p:cNvPr>
            <p:cNvSpPr/>
            <p:nvPr/>
          </p:nvSpPr>
          <p:spPr bwMode="auto">
            <a:xfrm>
              <a:off x="4495388" y="4900836"/>
              <a:ext cx="3970417" cy="69141"/>
            </a:xfrm>
            <a:custGeom>
              <a:avLst/>
              <a:gdLst>
                <a:gd name="T0" fmla="*/ 0 w 515"/>
                <a:gd name="T1" fmla="*/ 0 h 9"/>
                <a:gd name="T2" fmla="*/ 16 w 515"/>
                <a:gd name="T3" fmla="*/ 9 h 9"/>
                <a:gd name="T4" fmla="*/ 499 w 515"/>
                <a:gd name="T5" fmla="*/ 9 h 9"/>
                <a:gd name="T6" fmla="*/ 515 w 515"/>
                <a:gd name="T7" fmla="*/ 0 h 9"/>
                <a:gd name="T8" fmla="*/ 0 w 51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9">
                  <a:moveTo>
                    <a:pt x="0" y="0"/>
                  </a:moveTo>
                  <a:cubicBezTo>
                    <a:pt x="3" y="5"/>
                    <a:pt x="9" y="9"/>
                    <a:pt x="16" y="9"/>
                  </a:cubicBezTo>
                  <a:cubicBezTo>
                    <a:pt x="499" y="9"/>
                    <a:pt x="499" y="9"/>
                    <a:pt x="499" y="9"/>
                  </a:cubicBezTo>
                  <a:cubicBezTo>
                    <a:pt x="506" y="9"/>
                    <a:pt x="512" y="5"/>
                    <a:pt x="51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8D6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śḷïḓe">
              <a:extLst>
                <a:ext uri="{FF2B5EF4-FFF2-40B4-BE49-F238E27FC236}">
                  <a16:creationId xmlns:a16="http://schemas.microsoft.com/office/drawing/2014/main" id="{FBF4DCB6-4EA4-4641-8D28-E9248AD9B9C9}"/>
                </a:ext>
              </a:extLst>
            </p:cNvPr>
            <p:cNvSpPr/>
            <p:nvPr/>
          </p:nvSpPr>
          <p:spPr bwMode="auto">
            <a:xfrm>
              <a:off x="8704340" y="3255283"/>
              <a:ext cx="394103" cy="563498"/>
            </a:xfrm>
            <a:custGeom>
              <a:avLst/>
              <a:gdLst>
                <a:gd name="T0" fmla="*/ 67 w 228"/>
                <a:gd name="T1" fmla="*/ 326 h 326"/>
                <a:gd name="T2" fmla="*/ 161 w 228"/>
                <a:gd name="T3" fmla="*/ 232 h 326"/>
                <a:gd name="T4" fmla="*/ 228 w 228"/>
                <a:gd name="T5" fmla="*/ 161 h 326"/>
                <a:gd name="T6" fmla="*/ 161 w 228"/>
                <a:gd name="T7" fmla="*/ 94 h 326"/>
                <a:gd name="T8" fmla="*/ 67 w 228"/>
                <a:gd name="T9" fmla="*/ 0 h 326"/>
                <a:gd name="T10" fmla="*/ 0 w 228"/>
                <a:gd name="T11" fmla="*/ 67 h 326"/>
                <a:gd name="T12" fmla="*/ 94 w 228"/>
                <a:gd name="T13" fmla="*/ 161 h 326"/>
                <a:gd name="T14" fmla="*/ 0 w 228"/>
                <a:gd name="T15" fmla="*/ 259 h 326"/>
                <a:gd name="T16" fmla="*/ 67 w 228"/>
                <a:gd name="T17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326">
                  <a:moveTo>
                    <a:pt x="67" y="326"/>
                  </a:moveTo>
                  <a:lnTo>
                    <a:pt x="161" y="232"/>
                  </a:lnTo>
                  <a:lnTo>
                    <a:pt x="228" y="161"/>
                  </a:lnTo>
                  <a:lnTo>
                    <a:pt x="161" y="94"/>
                  </a:lnTo>
                  <a:lnTo>
                    <a:pt x="67" y="0"/>
                  </a:lnTo>
                  <a:lnTo>
                    <a:pt x="0" y="67"/>
                  </a:lnTo>
                  <a:lnTo>
                    <a:pt x="94" y="161"/>
                  </a:lnTo>
                  <a:lnTo>
                    <a:pt x="0" y="259"/>
                  </a:lnTo>
                  <a:lnTo>
                    <a:pt x="67" y="326"/>
                  </a:lnTo>
                  <a:close/>
                </a:path>
              </a:pathLst>
            </a:custGeom>
            <a:solidFill>
              <a:srgbClr val="E3EAFF">
                <a:alpha val="7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Sḷídé">
              <a:extLst>
                <a:ext uri="{FF2B5EF4-FFF2-40B4-BE49-F238E27FC236}">
                  <a16:creationId xmlns:a16="http://schemas.microsoft.com/office/drawing/2014/main" id="{F77CA1CC-FC06-4FAA-9C32-843C7E9C7F0D}"/>
                </a:ext>
              </a:extLst>
            </p:cNvPr>
            <p:cNvSpPr/>
            <p:nvPr/>
          </p:nvSpPr>
          <p:spPr bwMode="auto">
            <a:xfrm>
              <a:off x="2977745" y="3255283"/>
              <a:ext cx="401017" cy="563498"/>
            </a:xfrm>
            <a:custGeom>
              <a:avLst/>
              <a:gdLst>
                <a:gd name="T0" fmla="*/ 165 w 232"/>
                <a:gd name="T1" fmla="*/ 326 h 326"/>
                <a:gd name="T2" fmla="*/ 67 w 232"/>
                <a:gd name="T3" fmla="*/ 232 h 326"/>
                <a:gd name="T4" fmla="*/ 0 w 232"/>
                <a:gd name="T5" fmla="*/ 161 h 326"/>
                <a:gd name="T6" fmla="*/ 67 w 232"/>
                <a:gd name="T7" fmla="*/ 94 h 326"/>
                <a:gd name="T8" fmla="*/ 165 w 232"/>
                <a:gd name="T9" fmla="*/ 0 h 326"/>
                <a:gd name="T10" fmla="*/ 232 w 232"/>
                <a:gd name="T11" fmla="*/ 67 h 326"/>
                <a:gd name="T12" fmla="*/ 134 w 232"/>
                <a:gd name="T13" fmla="*/ 161 h 326"/>
                <a:gd name="T14" fmla="*/ 232 w 232"/>
                <a:gd name="T15" fmla="*/ 259 h 326"/>
                <a:gd name="T16" fmla="*/ 165 w 232"/>
                <a:gd name="T17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326">
                  <a:moveTo>
                    <a:pt x="165" y="326"/>
                  </a:moveTo>
                  <a:lnTo>
                    <a:pt x="67" y="232"/>
                  </a:lnTo>
                  <a:lnTo>
                    <a:pt x="0" y="161"/>
                  </a:lnTo>
                  <a:lnTo>
                    <a:pt x="67" y="94"/>
                  </a:lnTo>
                  <a:lnTo>
                    <a:pt x="165" y="0"/>
                  </a:lnTo>
                  <a:lnTo>
                    <a:pt x="232" y="67"/>
                  </a:lnTo>
                  <a:lnTo>
                    <a:pt x="134" y="161"/>
                  </a:lnTo>
                  <a:lnTo>
                    <a:pt x="232" y="259"/>
                  </a:lnTo>
                  <a:lnTo>
                    <a:pt x="165" y="326"/>
                  </a:lnTo>
                  <a:close/>
                </a:path>
              </a:pathLst>
            </a:custGeom>
            <a:solidFill>
              <a:srgbClr val="E3EAFF">
                <a:alpha val="7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$1íďe">
              <a:extLst>
                <a:ext uri="{FF2B5EF4-FFF2-40B4-BE49-F238E27FC236}">
                  <a16:creationId xmlns:a16="http://schemas.microsoft.com/office/drawing/2014/main" id="{6B94C7FA-54CB-496D-9FB6-F7C275797A2B}"/>
                </a:ext>
              </a:extLst>
            </p:cNvPr>
            <p:cNvSpPr/>
            <p:nvPr/>
          </p:nvSpPr>
          <p:spPr bwMode="auto">
            <a:xfrm>
              <a:off x="4581814" y="2544860"/>
              <a:ext cx="53585" cy="12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šliḍê">
              <a:extLst>
                <a:ext uri="{FF2B5EF4-FFF2-40B4-BE49-F238E27FC236}">
                  <a16:creationId xmlns:a16="http://schemas.microsoft.com/office/drawing/2014/main" id="{01DC3B22-FFF0-4B74-A8F1-133DE9461406}"/>
                </a:ext>
              </a:extLst>
            </p:cNvPr>
            <p:cNvSpPr/>
            <p:nvPr/>
          </p:nvSpPr>
          <p:spPr bwMode="auto">
            <a:xfrm>
              <a:off x="4635398" y="2544860"/>
              <a:ext cx="160753" cy="12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ŝ1ídé">
              <a:extLst>
                <a:ext uri="{FF2B5EF4-FFF2-40B4-BE49-F238E27FC236}">
                  <a16:creationId xmlns:a16="http://schemas.microsoft.com/office/drawing/2014/main" id="{86E6EDE6-D7D0-4A1F-B5F7-BE7A8B092F91}"/>
                </a:ext>
              </a:extLst>
            </p:cNvPr>
            <p:cNvSpPr/>
            <p:nvPr/>
          </p:nvSpPr>
          <p:spPr bwMode="auto">
            <a:xfrm>
              <a:off x="4796151" y="2544860"/>
              <a:ext cx="309406" cy="12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ṡľïďê">
              <a:extLst>
                <a:ext uri="{FF2B5EF4-FFF2-40B4-BE49-F238E27FC236}">
                  <a16:creationId xmlns:a16="http://schemas.microsoft.com/office/drawing/2014/main" id="{EA85E251-67F4-4575-AB2D-E222F7FC2578}"/>
                </a:ext>
              </a:extLst>
            </p:cNvPr>
            <p:cNvSpPr/>
            <p:nvPr/>
          </p:nvSpPr>
          <p:spPr bwMode="auto">
            <a:xfrm>
              <a:off x="4410690" y="2669314"/>
              <a:ext cx="1211695" cy="1612712"/>
            </a:xfrm>
            <a:custGeom>
              <a:avLst/>
              <a:gdLst>
                <a:gd name="T0" fmla="*/ 151 w 157"/>
                <a:gd name="T1" fmla="*/ 209 h 209"/>
                <a:gd name="T2" fmla="*/ 5 w 157"/>
                <a:gd name="T3" fmla="*/ 209 h 209"/>
                <a:gd name="T4" fmla="*/ 0 w 157"/>
                <a:gd name="T5" fmla="*/ 203 h 209"/>
                <a:gd name="T6" fmla="*/ 0 w 157"/>
                <a:gd name="T7" fmla="*/ 6 h 209"/>
                <a:gd name="T8" fmla="*/ 5 w 157"/>
                <a:gd name="T9" fmla="*/ 0 h 209"/>
                <a:gd name="T10" fmla="*/ 151 w 157"/>
                <a:gd name="T11" fmla="*/ 0 h 209"/>
                <a:gd name="T12" fmla="*/ 157 w 157"/>
                <a:gd name="T13" fmla="*/ 6 h 209"/>
                <a:gd name="T14" fmla="*/ 157 w 157"/>
                <a:gd name="T15" fmla="*/ 203 h 209"/>
                <a:gd name="T16" fmla="*/ 151 w 157"/>
                <a:gd name="T1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09">
                  <a:moveTo>
                    <a:pt x="151" y="209"/>
                  </a:moveTo>
                  <a:cubicBezTo>
                    <a:pt x="5" y="209"/>
                    <a:pt x="5" y="209"/>
                    <a:pt x="5" y="209"/>
                  </a:cubicBezTo>
                  <a:cubicBezTo>
                    <a:pt x="2" y="209"/>
                    <a:pt x="0" y="206"/>
                    <a:pt x="0" y="2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3"/>
                    <a:pt x="157" y="6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7" y="206"/>
                    <a:pt x="154" y="209"/>
                    <a:pt x="151" y="209"/>
                  </a:cubicBezTo>
                </a:path>
              </a:pathLst>
            </a:custGeom>
            <a:gradFill>
              <a:gsLst>
                <a:gs pos="8000">
                  <a:srgbClr val="FB9E45"/>
                </a:gs>
                <a:gs pos="100000">
                  <a:srgbClr val="FBB45F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ḻíďê">
              <a:extLst>
                <a:ext uri="{FF2B5EF4-FFF2-40B4-BE49-F238E27FC236}">
                  <a16:creationId xmlns:a16="http://schemas.microsoft.com/office/drawing/2014/main" id="{803D4255-FEFA-4929-BCFE-64CC1427E8B5}"/>
                </a:ext>
              </a:extLst>
            </p:cNvPr>
            <p:cNvSpPr/>
            <p:nvPr/>
          </p:nvSpPr>
          <p:spPr bwMode="auto">
            <a:xfrm>
              <a:off x="4751209" y="3177500"/>
              <a:ext cx="523743" cy="525471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śḷiḋé">
              <a:extLst>
                <a:ext uri="{FF2B5EF4-FFF2-40B4-BE49-F238E27FC236}">
                  <a16:creationId xmlns:a16="http://schemas.microsoft.com/office/drawing/2014/main" id="{E21FADF5-98A5-48C6-A9E3-E20162200828}"/>
                </a:ext>
              </a:extLst>
            </p:cNvPr>
            <p:cNvSpPr/>
            <p:nvPr/>
          </p:nvSpPr>
          <p:spPr bwMode="auto">
            <a:xfrm>
              <a:off x="4965546" y="3339981"/>
              <a:ext cx="146925" cy="200509"/>
            </a:xfrm>
            <a:custGeom>
              <a:avLst/>
              <a:gdLst>
                <a:gd name="T0" fmla="*/ 0 w 19"/>
                <a:gd name="T1" fmla="*/ 13 h 26"/>
                <a:gd name="T2" fmla="*/ 0 w 19"/>
                <a:gd name="T3" fmla="*/ 4 h 26"/>
                <a:gd name="T4" fmla="*/ 4 w 19"/>
                <a:gd name="T5" fmla="*/ 2 h 26"/>
                <a:gd name="T6" fmla="*/ 10 w 19"/>
                <a:gd name="T7" fmla="*/ 6 h 26"/>
                <a:gd name="T8" fmla="*/ 17 w 19"/>
                <a:gd name="T9" fmla="*/ 11 h 26"/>
                <a:gd name="T10" fmla="*/ 17 w 19"/>
                <a:gd name="T11" fmla="*/ 15 h 26"/>
                <a:gd name="T12" fmla="*/ 10 w 19"/>
                <a:gd name="T13" fmla="*/ 21 h 26"/>
                <a:gd name="T14" fmla="*/ 4 w 19"/>
                <a:gd name="T15" fmla="*/ 25 h 26"/>
                <a:gd name="T16" fmla="*/ 0 w 19"/>
                <a:gd name="T17" fmla="*/ 23 h 26"/>
                <a:gd name="T18" fmla="*/ 0 w 19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0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2"/>
                    <a:pt x="19" y="14"/>
                    <a:pt x="17" y="15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6"/>
                    <a:pt x="0" y="25"/>
                    <a:pt x="0" y="2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Slïḋê">
              <a:extLst>
                <a:ext uri="{FF2B5EF4-FFF2-40B4-BE49-F238E27FC236}">
                  <a16:creationId xmlns:a16="http://schemas.microsoft.com/office/drawing/2014/main" id="{F2FF1DB5-8466-45C1-A97A-FFF38EE645DF}"/>
                </a:ext>
              </a:extLst>
            </p:cNvPr>
            <p:cNvSpPr/>
            <p:nvPr/>
          </p:nvSpPr>
          <p:spPr bwMode="auto">
            <a:xfrm>
              <a:off x="4727010" y="3803225"/>
              <a:ext cx="601526" cy="62227"/>
            </a:xfrm>
            <a:custGeom>
              <a:avLst/>
              <a:gdLst>
                <a:gd name="T0" fmla="*/ 74 w 78"/>
                <a:gd name="T1" fmla="*/ 0 h 8"/>
                <a:gd name="T2" fmla="*/ 4 w 78"/>
                <a:gd name="T3" fmla="*/ 0 h 8"/>
                <a:gd name="T4" fmla="*/ 0 w 78"/>
                <a:gd name="T5" fmla="*/ 4 h 8"/>
                <a:gd name="T6" fmla="*/ 4 w 78"/>
                <a:gd name="T7" fmla="*/ 8 h 8"/>
                <a:gd name="T8" fmla="*/ 74 w 78"/>
                <a:gd name="T9" fmla="*/ 8 h 8"/>
                <a:gd name="T10" fmla="*/ 78 w 78"/>
                <a:gd name="T11" fmla="*/ 4 h 8"/>
                <a:gd name="T12" fmla="*/ 74 w 7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">
                  <a:moveTo>
                    <a:pt x="7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6" y="8"/>
                    <a:pt x="78" y="6"/>
                    <a:pt x="78" y="4"/>
                  </a:cubicBezTo>
                  <a:cubicBezTo>
                    <a:pt x="78" y="1"/>
                    <a:pt x="76" y="0"/>
                    <a:pt x="74" y="0"/>
                  </a:cubicBezTo>
                </a:path>
              </a:pathLst>
            </a:custGeom>
            <a:solidFill>
              <a:srgbClr val="F4D796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$ḻïḍe">
              <a:extLst>
                <a:ext uri="{FF2B5EF4-FFF2-40B4-BE49-F238E27FC236}">
                  <a16:creationId xmlns:a16="http://schemas.microsoft.com/office/drawing/2014/main" id="{F4FA79E1-4A71-4A46-8C70-8C6C343AF622}"/>
                </a:ext>
              </a:extLst>
            </p:cNvPr>
            <p:cNvSpPr/>
            <p:nvPr/>
          </p:nvSpPr>
          <p:spPr bwMode="auto">
            <a:xfrm>
              <a:off x="4635398" y="3919035"/>
              <a:ext cx="886733" cy="31113"/>
            </a:xfrm>
            <a:custGeom>
              <a:avLst/>
              <a:gdLst>
                <a:gd name="T0" fmla="*/ 113 w 115"/>
                <a:gd name="T1" fmla="*/ 0 h 4"/>
                <a:gd name="T2" fmla="*/ 0 w 115"/>
                <a:gd name="T3" fmla="*/ 0 h 4"/>
                <a:gd name="T4" fmla="*/ 0 w 115"/>
                <a:gd name="T5" fmla="*/ 4 h 4"/>
                <a:gd name="T6" fmla="*/ 113 w 115"/>
                <a:gd name="T7" fmla="*/ 4 h 4"/>
                <a:gd name="T8" fmla="*/ 115 w 115"/>
                <a:gd name="T9" fmla="*/ 2 h 4"/>
                <a:gd name="T10" fmla="*/ 113 w 11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5" h="4">
                  <a:moveTo>
                    <a:pt x="11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4" y="4"/>
                    <a:pt x="115" y="3"/>
                    <a:pt x="115" y="2"/>
                  </a:cubicBezTo>
                  <a:cubicBezTo>
                    <a:pt x="115" y="1"/>
                    <a:pt x="114" y="0"/>
                    <a:pt x="113" y="0"/>
                  </a:cubicBezTo>
                </a:path>
              </a:pathLst>
            </a:custGeom>
            <a:solidFill>
              <a:srgbClr val="F4D796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ṧḻiďé">
              <a:extLst>
                <a:ext uri="{FF2B5EF4-FFF2-40B4-BE49-F238E27FC236}">
                  <a16:creationId xmlns:a16="http://schemas.microsoft.com/office/drawing/2014/main" id="{0B315BB2-1580-459E-9896-A907F9A76B12}"/>
                </a:ext>
              </a:extLst>
            </p:cNvPr>
            <p:cNvSpPr/>
            <p:nvPr/>
          </p:nvSpPr>
          <p:spPr bwMode="auto">
            <a:xfrm>
              <a:off x="4635398" y="3989905"/>
              <a:ext cx="191867" cy="29385"/>
            </a:xfrm>
            <a:custGeom>
              <a:avLst/>
              <a:gdLst>
                <a:gd name="T0" fmla="*/ 23 w 25"/>
                <a:gd name="T1" fmla="*/ 0 h 4"/>
                <a:gd name="T2" fmla="*/ 0 w 25"/>
                <a:gd name="T3" fmla="*/ 0 h 4"/>
                <a:gd name="T4" fmla="*/ 0 w 25"/>
                <a:gd name="T5" fmla="*/ 4 h 4"/>
                <a:gd name="T6" fmla="*/ 23 w 25"/>
                <a:gd name="T7" fmla="*/ 4 h 4"/>
                <a:gd name="T8" fmla="*/ 25 w 25"/>
                <a:gd name="T9" fmla="*/ 2 h 4"/>
                <a:gd name="T10" fmla="*/ 23 w 2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4">
                  <a:moveTo>
                    <a:pt x="2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5" y="3"/>
                    <a:pt x="25" y="2"/>
                  </a:cubicBezTo>
                  <a:cubicBezTo>
                    <a:pt x="25" y="1"/>
                    <a:pt x="24" y="0"/>
                    <a:pt x="23" y="0"/>
                  </a:cubicBezTo>
                </a:path>
              </a:pathLst>
            </a:custGeom>
            <a:solidFill>
              <a:srgbClr val="F4D796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ṣlíḑê">
              <a:extLst>
                <a:ext uri="{FF2B5EF4-FFF2-40B4-BE49-F238E27FC236}">
                  <a16:creationId xmlns:a16="http://schemas.microsoft.com/office/drawing/2014/main" id="{8184F7C3-F9C1-464C-9A8A-5873DC070A89}"/>
                </a:ext>
              </a:extLst>
            </p:cNvPr>
            <p:cNvSpPr/>
            <p:nvPr/>
          </p:nvSpPr>
          <p:spPr bwMode="auto">
            <a:xfrm>
              <a:off x="5290508" y="4081517"/>
              <a:ext cx="222980" cy="69141"/>
            </a:xfrm>
            <a:custGeom>
              <a:avLst/>
              <a:gdLst>
                <a:gd name="T0" fmla="*/ 24 w 29"/>
                <a:gd name="T1" fmla="*/ 9 h 9"/>
                <a:gd name="T2" fmla="*/ 5 w 29"/>
                <a:gd name="T3" fmla="*/ 9 h 9"/>
                <a:gd name="T4" fmla="*/ 0 w 29"/>
                <a:gd name="T5" fmla="*/ 4 h 9"/>
                <a:gd name="T6" fmla="*/ 5 w 29"/>
                <a:gd name="T7" fmla="*/ 0 h 9"/>
                <a:gd name="T8" fmla="*/ 24 w 29"/>
                <a:gd name="T9" fmla="*/ 0 h 9"/>
                <a:gd name="T10" fmla="*/ 29 w 29"/>
                <a:gd name="T11" fmla="*/ 4 h 9"/>
                <a:gd name="T12" fmla="*/ 24 w 2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4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7"/>
                    <a:pt x="27" y="9"/>
                    <a:pt x="24" y="9"/>
                  </a:cubicBezTo>
                  <a:close/>
                </a:path>
              </a:pathLst>
            </a:custGeom>
            <a:solidFill>
              <a:srgbClr val="E3EA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sḻiďe">
              <a:extLst>
                <a:ext uri="{FF2B5EF4-FFF2-40B4-BE49-F238E27FC236}">
                  <a16:creationId xmlns:a16="http://schemas.microsoft.com/office/drawing/2014/main" id="{45CEBD8D-7701-4694-B7A1-EC1642623AD7}"/>
                </a:ext>
              </a:extLst>
            </p:cNvPr>
            <p:cNvSpPr/>
            <p:nvPr/>
          </p:nvSpPr>
          <p:spPr bwMode="auto">
            <a:xfrm>
              <a:off x="5876477" y="2669314"/>
              <a:ext cx="1209966" cy="1612712"/>
            </a:xfrm>
            <a:custGeom>
              <a:avLst/>
              <a:gdLst>
                <a:gd name="T0" fmla="*/ 151 w 157"/>
                <a:gd name="T1" fmla="*/ 209 h 209"/>
                <a:gd name="T2" fmla="*/ 5 w 157"/>
                <a:gd name="T3" fmla="*/ 209 h 209"/>
                <a:gd name="T4" fmla="*/ 0 w 157"/>
                <a:gd name="T5" fmla="*/ 203 h 209"/>
                <a:gd name="T6" fmla="*/ 0 w 157"/>
                <a:gd name="T7" fmla="*/ 6 h 209"/>
                <a:gd name="T8" fmla="*/ 5 w 157"/>
                <a:gd name="T9" fmla="*/ 0 h 209"/>
                <a:gd name="T10" fmla="*/ 151 w 157"/>
                <a:gd name="T11" fmla="*/ 0 h 209"/>
                <a:gd name="T12" fmla="*/ 157 w 157"/>
                <a:gd name="T13" fmla="*/ 6 h 209"/>
                <a:gd name="T14" fmla="*/ 157 w 157"/>
                <a:gd name="T15" fmla="*/ 203 h 209"/>
                <a:gd name="T16" fmla="*/ 151 w 157"/>
                <a:gd name="T1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09">
                  <a:moveTo>
                    <a:pt x="151" y="209"/>
                  </a:moveTo>
                  <a:cubicBezTo>
                    <a:pt x="5" y="209"/>
                    <a:pt x="5" y="209"/>
                    <a:pt x="5" y="209"/>
                  </a:cubicBezTo>
                  <a:cubicBezTo>
                    <a:pt x="2" y="209"/>
                    <a:pt x="0" y="206"/>
                    <a:pt x="0" y="2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3"/>
                    <a:pt x="157" y="6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7" y="206"/>
                    <a:pt x="154" y="209"/>
                    <a:pt x="151" y="209"/>
                  </a:cubicBezTo>
                </a:path>
              </a:pathLst>
            </a:custGeom>
            <a:gradFill>
              <a:gsLst>
                <a:gs pos="8000">
                  <a:srgbClr val="1FBDFE"/>
                </a:gs>
                <a:gs pos="100000">
                  <a:srgbClr val="72D8F5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ṥľîḋe">
              <a:extLst>
                <a:ext uri="{FF2B5EF4-FFF2-40B4-BE49-F238E27FC236}">
                  <a16:creationId xmlns:a16="http://schemas.microsoft.com/office/drawing/2014/main" id="{30E836EC-1AE8-4903-9F5D-F9DE6ADAB45E}"/>
                </a:ext>
              </a:extLst>
            </p:cNvPr>
            <p:cNvSpPr/>
            <p:nvPr/>
          </p:nvSpPr>
          <p:spPr bwMode="auto">
            <a:xfrm>
              <a:off x="6215268" y="3177500"/>
              <a:ext cx="523743" cy="525471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ṧlîḑé">
              <a:extLst>
                <a:ext uri="{FF2B5EF4-FFF2-40B4-BE49-F238E27FC236}">
                  <a16:creationId xmlns:a16="http://schemas.microsoft.com/office/drawing/2014/main" id="{028BFB02-24DE-43BB-80F7-BF8F2123164F}"/>
                </a:ext>
              </a:extLst>
            </p:cNvPr>
            <p:cNvSpPr/>
            <p:nvPr/>
          </p:nvSpPr>
          <p:spPr bwMode="auto">
            <a:xfrm>
              <a:off x="6431333" y="3339981"/>
              <a:ext cx="145196" cy="200509"/>
            </a:xfrm>
            <a:custGeom>
              <a:avLst/>
              <a:gdLst>
                <a:gd name="T0" fmla="*/ 0 w 19"/>
                <a:gd name="T1" fmla="*/ 13 h 26"/>
                <a:gd name="T2" fmla="*/ 0 w 19"/>
                <a:gd name="T3" fmla="*/ 4 h 26"/>
                <a:gd name="T4" fmla="*/ 4 w 19"/>
                <a:gd name="T5" fmla="*/ 2 h 26"/>
                <a:gd name="T6" fmla="*/ 10 w 19"/>
                <a:gd name="T7" fmla="*/ 6 h 26"/>
                <a:gd name="T8" fmla="*/ 18 w 19"/>
                <a:gd name="T9" fmla="*/ 11 h 26"/>
                <a:gd name="T10" fmla="*/ 18 w 19"/>
                <a:gd name="T11" fmla="*/ 15 h 26"/>
                <a:gd name="T12" fmla="*/ 10 w 19"/>
                <a:gd name="T13" fmla="*/ 21 h 26"/>
                <a:gd name="T14" fmla="*/ 4 w 19"/>
                <a:gd name="T15" fmla="*/ 25 h 26"/>
                <a:gd name="T16" fmla="*/ 0 w 19"/>
                <a:gd name="T17" fmla="*/ 23 h 26"/>
                <a:gd name="T18" fmla="*/ 0 w 19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0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4"/>
                    <a:pt x="18" y="15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6"/>
                    <a:pt x="0" y="25"/>
                    <a:pt x="0" y="2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ṧḷïḋe">
              <a:extLst>
                <a:ext uri="{FF2B5EF4-FFF2-40B4-BE49-F238E27FC236}">
                  <a16:creationId xmlns:a16="http://schemas.microsoft.com/office/drawing/2014/main" id="{03CBA76E-5178-46F2-BCDE-49EE1BC47BA0}"/>
                </a:ext>
              </a:extLst>
            </p:cNvPr>
            <p:cNvSpPr/>
            <p:nvPr/>
          </p:nvSpPr>
          <p:spPr bwMode="auto">
            <a:xfrm>
              <a:off x="6192797" y="3803225"/>
              <a:ext cx="599798" cy="62227"/>
            </a:xfrm>
            <a:custGeom>
              <a:avLst/>
              <a:gdLst>
                <a:gd name="T0" fmla="*/ 74 w 78"/>
                <a:gd name="T1" fmla="*/ 0 h 8"/>
                <a:gd name="T2" fmla="*/ 4 w 78"/>
                <a:gd name="T3" fmla="*/ 0 h 8"/>
                <a:gd name="T4" fmla="*/ 0 w 78"/>
                <a:gd name="T5" fmla="*/ 4 h 8"/>
                <a:gd name="T6" fmla="*/ 4 w 78"/>
                <a:gd name="T7" fmla="*/ 8 h 8"/>
                <a:gd name="T8" fmla="*/ 74 w 78"/>
                <a:gd name="T9" fmla="*/ 8 h 8"/>
                <a:gd name="T10" fmla="*/ 78 w 78"/>
                <a:gd name="T11" fmla="*/ 4 h 8"/>
                <a:gd name="T12" fmla="*/ 74 w 7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">
                  <a:moveTo>
                    <a:pt x="7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7" y="8"/>
                    <a:pt x="78" y="6"/>
                    <a:pt x="78" y="4"/>
                  </a:cubicBezTo>
                  <a:cubicBezTo>
                    <a:pt x="78" y="1"/>
                    <a:pt x="77" y="0"/>
                    <a:pt x="74" y="0"/>
                  </a:cubicBezTo>
                </a:path>
              </a:pathLst>
            </a:custGeom>
            <a:solidFill>
              <a:srgbClr val="91D7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śľïďé">
              <a:extLst>
                <a:ext uri="{FF2B5EF4-FFF2-40B4-BE49-F238E27FC236}">
                  <a16:creationId xmlns:a16="http://schemas.microsoft.com/office/drawing/2014/main" id="{81D40F48-DEDF-40F2-85E1-AF36454A7CBB}"/>
                </a:ext>
              </a:extLst>
            </p:cNvPr>
            <p:cNvSpPr/>
            <p:nvPr/>
          </p:nvSpPr>
          <p:spPr bwMode="auto">
            <a:xfrm>
              <a:off x="5999203" y="3919035"/>
              <a:ext cx="986987" cy="31113"/>
            </a:xfrm>
            <a:custGeom>
              <a:avLst/>
              <a:gdLst>
                <a:gd name="T0" fmla="*/ 126 w 128"/>
                <a:gd name="T1" fmla="*/ 0 h 4"/>
                <a:gd name="T2" fmla="*/ 2 w 128"/>
                <a:gd name="T3" fmla="*/ 0 h 4"/>
                <a:gd name="T4" fmla="*/ 0 w 128"/>
                <a:gd name="T5" fmla="*/ 2 h 4"/>
                <a:gd name="T6" fmla="*/ 2 w 128"/>
                <a:gd name="T7" fmla="*/ 4 h 4"/>
                <a:gd name="T8" fmla="*/ 126 w 128"/>
                <a:gd name="T9" fmla="*/ 4 h 4"/>
                <a:gd name="T10" fmla="*/ 128 w 128"/>
                <a:gd name="T11" fmla="*/ 2 h 4"/>
                <a:gd name="T12" fmla="*/ 126 w 1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4">
                  <a:moveTo>
                    <a:pt x="1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7" y="4"/>
                    <a:pt x="128" y="3"/>
                    <a:pt x="128" y="2"/>
                  </a:cubicBezTo>
                  <a:cubicBezTo>
                    <a:pt x="128" y="1"/>
                    <a:pt x="127" y="0"/>
                    <a:pt x="126" y="0"/>
                  </a:cubicBezTo>
                </a:path>
              </a:pathLst>
            </a:custGeom>
            <a:solidFill>
              <a:srgbClr val="91D7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ŝľíḑe">
              <a:extLst>
                <a:ext uri="{FF2B5EF4-FFF2-40B4-BE49-F238E27FC236}">
                  <a16:creationId xmlns:a16="http://schemas.microsoft.com/office/drawing/2014/main" id="{4F058534-B065-4A81-9FE1-F1DED525C1BE}"/>
                </a:ext>
              </a:extLst>
            </p:cNvPr>
            <p:cNvSpPr/>
            <p:nvPr/>
          </p:nvSpPr>
          <p:spPr bwMode="auto">
            <a:xfrm>
              <a:off x="5999203" y="3989905"/>
              <a:ext cx="292121" cy="29385"/>
            </a:xfrm>
            <a:custGeom>
              <a:avLst/>
              <a:gdLst>
                <a:gd name="T0" fmla="*/ 36 w 38"/>
                <a:gd name="T1" fmla="*/ 0 h 4"/>
                <a:gd name="T2" fmla="*/ 2 w 38"/>
                <a:gd name="T3" fmla="*/ 0 h 4"/>
                <a:gd name="T4" fmla="*/ 0 w 38"/>
                <a:gd name="T5" fmla="*/ 2 h 4"/>
                <a:gd name="T6" fmla="*/ 2 w 38"/>
                <a:gd name="T7" fmla="*/ 4 h 4"/>
                <a:gd name="T8" fmla="*/ 36 w 38"/>
                <a:gd name="T9" fmla="*/ 4 h 4"/>
                <a:gd name="T10" fmla="*/ 38 w 38"/>
                <a:gd name="T11" fmla="*/ 2 h 4"/>
                <a:gd name="T12" fmla="*/ 36 w 3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4">
                  <a:moveTo>
                    <a:pt x="3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8" y="3"/>
                    <a:pt x="38" y="2"/>
                  </a:cubicBezTo>
                  <a:cubicBezTo>
                    <a:pt x="38" y="1"/>
                    <a:pt x="37" y="0"/>
                    <a:pt x="36" y="0"/>
                  </a:cubicBezTo>
                </a:path>
              </a:pathLst>
            </a:custGeom>
            <a:solidFill>
              <a:srgbClr val="91D7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iSľïḓê">
              <a:extLst>
                <a:ext uri="{FF2B5EF4-FFF2-40B4-BE49-F238E27FC236}">
                  <a16:creationId xmlns:a16="http://schemas.microsoft.com/office/drawing/2014/main" id="{03A48E9D-08D5-4C50-8BDA-1B0460A74A69}"/>
                </a:ext>
              </a:extLst>
            </p:cNvPr>
            <p:cNvSpPr/>
            <p:nvPr/>
          </p:nvSpPr>
          <p:spPr bwMode="auto">
            <a:xfrm>
              <a:off x="6754567" y="4081517"/>
              <a:ext cx="222980" cy="69141"/>
            </a:xfrm>
            <a:custGeom>
              <a:avLst/>
              <a:gdLst>
                <a:gd name="T0" fmla="*/ 24 w 29"/>
                <a:gd name="T1" fmla="*/ 9 h 9"/>
                <a:gd name="T2" fmla="*/ 5 w 29"/>
                <a:gd name="T3" fmla="*/ 9 h 9"/>
                <a:gd name="T4" fmla="*/ 0 w 29"/>
                <a:gd name="T5" fmla="*/ 4 h 9"/>
                <a:gd name="T6" fmla="*/ 5 w 29"/>
                <a:gd name="T7" fmla="*/ 0 h 9"/>
                <a:gd name="T8" fmla="*/ 24 w 29"/>
                <a:gd name="T9" fmla="*/ 0 h 9"/>
                <a:gd name="T10" fmla="*/ 29 w 29"/>
                <a:gd name="T11" fmla="*/ 4 h 9"/>
                <a:gd name="T12" fmla="*/ 24 w 2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4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7"/>
                    <a:pt x="27" y="9"/>
                    <a:pt x="24" y="9"/>
                  </a:cubicBezTo>
                  <a:close/>
                </a:path>
              </a:pathLst>
            </a:custGeom>
            <a:solidFill>
              <a:srgbClr val="E3EA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ṩļïḑe">
              <a:extLst>
                <a:ext uri="{FF2B5EF4-FFF2-40B4-BE49-F238E27FC236}">
                  <a16:creationId xmlns:a16="http://schemas.microsoft.com/office/drawing/2014/main" id="{350F2697-8921-4E7D-870F-F00DD98EF191}"/>
                </a:ext>
              </a:extLst>
            </p:cNvPr>
            <p:cNvSpPr/>
            <p:nvPr/>
          </p:nvSpPr>
          <p:spPr bwMode="auto">
            <a:xfrm>
              <a:off x="7340536" y="2669314"/>
              <a:ext cx="1209966" cy="1612712"/>
            </a:xfrm>
            <a:custGeom>
              <a:avLst/>
              <a:gdLst>
                <a:gd name="T0" fmla="*/ 151 w 157"/>
                <a:gd name="T1" fmla="*/ 209 h 209"/>
                <a:gd name="T2" fmla="*/ 6 w 157"/>
                <a:gd name="T3" fmla="*/ 209 h 209"/>
                <a:gd name="T4" fmla="*/ 0 w 157"/>
                <a:gd name="T5" fmla="*/ 203 h 209"/>
                <a:gd name="T6" fmla="*/ 0 w 157"/>
                <a:gd name="T7" fmla="*/ 6 h 209"/>
                <a:gd name="T8" fmla="*/ 6 w 157"/>
                <a:gd name="T9" fmla="*/ 0 h 209"/>
                <a:gd name="T10" fmla="*/ 151 w 157"/>
                <a:gd name="T11" fmla="*/ 0 h 209"/>
                <a:gd name="T12" fmla="*/ 157 w 157"/>
                <a:gd name="T13" fmla="*/ 6 h 209"/>
                <a:gd name="T14" fmla="*/ 157 w 157"/>
                <a:gd name="T15" fmla="*/ 203 h 209"/>
                <a:gd name="T16" fmla="*/ 151 w 157"/>
                <a:gd name="T1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09">
                  <a:moveTo>
                    <a:pt x="151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3" y="209"/>
                    <a:pt x="0" y="206"/>
                    <a:pt x="0" y="2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5" y="0"/>
                    <a:pt x="157" y="3"/>
                    <a:pt x="157" y="6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7" y="206"/>
                    <a:pt x="155" y="209"/>
                    <a:pt x="151" y="209"/>
                  </a:cubicBezTo>
                </a:path>
              </a:pathLst>
            </a:custGeom>
            <a:gradFill>
              <a:gsLst>
                <a:gs pos="8000">
                  <a:srgbClr val="ED836E"/>
                </a:gs>
                <a:gs pos="100000">
                  <a:srgbClr val="DB74BD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ḻîḍé">
              <a:extLst>
                <a:ext uri="{FF2B5EF4-FFF2-40B4-BE49-F238E27FC236}">
                  <a16:creationId xmlns:a16="http://schemas.microsoft.com/office/drawing/2014/main" id="{34533ED1-A8C5-4E88-B585-DFC5CCDF7864}"/>
                </a:ext>
              </a:extLst>
            </p:cNvPr>
            <p:cNvSpPr/>
            <p:nvPr/>
          </p:nvSpPr>
          <p:spPr bwMode="auto">
            <a:xfrm>
              <a:off x="7679327" y="3177500"/>
              <a:ext cx="532385" cy="525471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ṡḷîdé">
              <a:extLst>
                <a:ext uri="{FF2B5EF4-FFF2-40B4-BE49-F238E27FC236}">
                  <a16:creationId xmlns:a16="http://schemas.microsoft.com/office/drawing/2014/main" id="{D18C0640-FB48-4923-B3AF-AFF4C45B0CC4}"/>
                </a:ext>
              </a:extLst>
            </p:cNvPr>
            <p:cNvSpPr/>
            <p:nvPr/>
          </p:nvSpPr>
          <p:spPr bwMode="auto">
            <a:xfrm>
              <a:off x="7895392" y="3339981"/>
              <a:ext cx="146925" cy="200509"/>
            </a:xfrm>
            <a:custGeom>
              <a:avLst/>
              <a:gdLst>
                <a:gd name="T0" fmla="*/ 0 w 19"/>
                <a:gd name="T1" fmla="*/ 13 h 26"/>
                <a:gd name="T2" fmla="*/ 0 w 19"/>
                <a:gd name="T3" fmla="*/ 4 h 26"/>
                <a:gd name="T4" fmla="*/ 4 w 19"/>
                <a:gd name="T5" fmla="*/ 2 h 26"/>
                <a:gd name="T6" fmla="*/ 10 w 19"/>
                <a:gd name="T7" fmla="*/ 6 h 26"/>
                <a:gd name="T8" fmla="*/ 18 w 19"/>
                <a:gd name="T9" fmla="*/ 11 h 26"/>
                <a:gd name="T10" fmla="*/ 18 w 19"/>
                <a:gd name="T11" fmla="*/ 15 h 26"/>
                <a:gd name="T12" fmla="*/ 10 w 19"/>
                <a:gd name="T13" fmla="*/ 21 h 26"/>
                <a:gd name="T14" fmla="*/ 4 w 19"/>
                <a:gd name="T15" fmla="*/ 25 h 26"/>
                <a:gd name="T16" fmla="*/ 0 w 19"/>
                <a:gd name="T17" fmla="*/ 23 h 26"/>
                <a:gd name="T18" fmla="*/ 0 w 19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0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4" y="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4"/>
                    <a:pt x="18" y="15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3" y="26"/>
                    <a:pt x="0" y="25"/>
                    <a:pt x="0" y="2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$ļïdé">
              <a:extLst>
                <a:ext uri="{FF2B5EF4-FFF2-40B4-BE49-F238E27FC236}">
                  <a16:creationId xmlns:a16="http://schemas.microsoft.com/office/drawing/2014/main" id="{45242E4D-A864-420B-A641-896AF613A33A}"/>
                </a:ext>
              </a:extLst>
            </p:cNvPr>
            <p:cNvSpPr/>
            <p:nvPr/>
          </p:nvSpPr>
          <p:spPr bwMode="auto">
            <a:xfrm>
              <a:off x="7663770" y="3803225"/>
              <a:ext cx="601526" cy="62227"/>
            </a:xfrm>
            <a:custGeom>
              <a:avLst/>
              <a:gdLst>
                <a:gd name="T0" fmla="*/ 74 w 78"/>
                <a:gd name="T1" fmla="*/ 0 h 8"/>
                <a:gd name="T2" fmla="*/ 4 w 78"/>
                <a:gd name="T3" fmla="*/ 0 h 8"/>
                <a:gd name="T4" fmla="*/ 0 w 78"/>
                <a:gd name="T5" fmla="*/ 4 h 8"/>
                <a:gd name="T6" fmla="*/ 4 w 78"/>
                <a:gd name="T7" fmla="*/ 8 h 8"/>
                <a:gd name="T8" fmla="*/ 74 w 78"/>
                <a:gd name="T9" fmla="*/ 8 h 8"/>
                <a:gd name="T10" fmla="*/ 78 w 78"/>
                <a:gd name="T11" fmla="*/ 4 h 8"/>
                <a:gd name="T12" fmla="*/ 74 w 7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">
                  <a:moveTo>
                    <a:pt x="7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6" y="8"/>
                    <a:pt x="78" y="6"/>
                    <a:pt x="78" y="4"/>
                  </a:cubicBezTo>
                  <a:cubicBezTo>
                    <a:pt x="78" y="1"/>
                    <a:pt x="76" y="0"/>
                    <a:pt x="74" y="0"/>
                  </a:cubicBezTo>
                </a:path>
              </a:pathLst>
            </a:custGeom>
            <a:solidFill>
              <a:srgbClr val="DB80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sliḑé">
              <a:extLst>
                <a:ext uri="{FF2B5EF4-FFF2-40B4-BE49-F238E27FC236}">
                  <a16:creationId xmlns:a16="http://schemas.microsoft.com/office/drawing/2014/main" id="{C25CE93D-4F6F-4C25-811C-0611C146663D}"/>
                </a:ext>
              </a:extLst>
            </p:cNvPr>
            <p:cNvSpPr/>
            <p:nvPr/>
          </p:nvSpPr>
          <p:spPr bwMode="auto">
            <a:xfrm>
              <a:off x="7471904" y="3919035"/>
              <a:ext cx="986987" cy="31113"/>
            </a:xfrm>
            <a:custGeom>
              <a:avLst/>
              <a:gdLst>
                <a:gd name="T0" fmla="*/ 126 w 128"/>
                <a:gd name="T1" fmla="*/ 0 h 4"/>
                <a:gd name="T2" fmla="*/ 2 w 128"/>
                <a:gd name="T3" fmla="*/ 0 h 4"/>
                <a:gd name="T4" fmla="*/ 0 w 128"/>
                <a:gd name="T5" fmla="*/ 2 h 4"/>
                <a:gd name="T6" fmla="*/ 2 w 128"/>
                <a:gd name="T7" fmla="*/ 4 h 4"/>
                <a:gd name="T8" fmla="*/ 126 w 128"/>
                <a:gd name="T9" fmla="*/ 4 h 4"/>
                <a:gd name="T10" fmla="*/ 128 w 128"/>
                <a:gd name="T11" fmla="*/ 2 h 4"/>
                <a:gd name="T12" fmla="*/ 126 w 1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4">
                  <a:moveTo>
                    <a:pt x="1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7" y="4"/>
                    <a:pt x="128" y="3"/>
                    <a:pt x="128" y="2"/>
                  </a:cubicBezTo>
                  <a:cubicBezTo>
                    <a:pt x="128" y="1"/>
                    <a:pt x="127" y="0"/>
                    <a:pt x="126" y="0"/>
                  </a:cubicBezTo>
                </a:path>
              </a:pathLst>
            </a:custGeom>
            <a:solidFill>
              <a:srgbClr val="DB80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s1ïḋê">
              <a:extLst>
                <a:ext uri="{FF2B5EF4-FFF2-40B4-BE49-F238E27FC236}">
                  <a16:creationId xmlns:a16="http://schemas.microsoft.com/office/drawing/2014/main" id="{812A538D-06E9-4B4C-A7B7-CDEEAFA14ABC}"/>
                </a:ext>
              </a:extLst>
            </p:cNvPr>
            <p:cNvSpPr/>
            <p:nvPr/>
          </p:nvSpPr>
          <p:spPr bwMode="auto">
            <a:xfrm>
              <a:off x="7471904" y="3989905"/>
              <a:ext cx="285207" cy="29385"/>
            </a:xfrm>
            <a:custGeom>
              <a:avLst/>
              <a:gdLst>
                <a:gd name="T0" fmla="*/ 35 w 37"/>
                <a:gd name="T1" fmla="*/ 0 h 4"/>
                <a:gd name="T2" fmla="*/ 2 w 37"/>
                <a:gd name="T3" fmla="*/ 0 h 4"/>
                <a:gd name="T4" fmla="*/ 0 w 37"/>
                <a:gd name="T5" fmla="*/ 2 h 4"/>
                <a:gd name="T6" fmla="*/ 2 w 37"/>
                <a:gd name="T7" fmla="*/ 4 h 4"/>
                <a:gd name="T8" fmla="*/ 35 w 37"/>
                <a:gd name="T9" fmla="*/ 4 h 4"/>
                <a:gd name="T10" fmla="*/ 37 w 37"/>
                <a:gd name="T11" fmla="*/ 2 h 4"/>
                <a:gd name="T12" fmla="*/ 35 w 37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4">
                  <a:moveTo>
                    <a:pt x="3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6" y="4"/>
                    <a:pt x="37" y="3"/>
                    <a:pt x="37" y="2"/>
                  </a:cubicBezTo>
                  <a:cubicBezTo>
                    <a:pt x="37" y="1"/>
                    <a:pt x="36" y="0"/>
                    <a:pt x="35" y="0"/>
                  </a:cubicBezTo>
                </a:path>
              </a:pathLst>
            </a:custGeom>
            <a:solidFill>
              <a:srgbClr val="DB80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śḷíḍè">
              <a:extLst>
                <a:ext uri="{FF2B5EF4-FFF2-40B4-BE49-F238E27FC236}">
                  <a16:creationId xmlns:a16="http://schemas.microsoft.com/office/drawing/2014/main" id="{E8E927AF-5BEE-4166-8F1F-7B264BCC2DB9}"/>
                </a:ext>
              </a:extLst>
            </p:cNvPr>
            <p:cNvSpPr/>
            <p:nvPr/>
          </p:nvSpPr>
          <p:spPr bwMode="auto">
            <a:xfrm>
              <a:off x="8227268" y="4081517"/>
              <a:ext cx="216066" cy="69141"/>
            </a:xfrm>
            <a:custGeom>
              <a:avLst/>
              <a:gdLst>
                <a:gd name="T0" fmla="*/ 24 w 28"/>
                <a:gd name="T1" fmla="*/ 9 h 9"/>
                <a:gd name="T2" fmla="*/ 4 w 28"/>
                <a:gd name="T3" fmla="*/ 9 h 9"/>
                <a:gd name="T4" fmla="*/ 0 w 28"/>
                <a:gd name="T5" fmla="*/ 4 h 9"/>
                <a:gd name="T6" fmla="*/ 4 w 28"/>
                <a:gd name="T7" fmla="*/ 0 h 9"/>
                <a:gd name="T8" fmla="*/ 24 w 28"/>
                <a:gd name="T9" fmla="*/ 0 h 9"/>
                <a:gd name="T10" fmla="*/ 28 w 28"/>
                <a:gd name="T11" fmla="*/ 4 h 9"/>
                <a:gd name="T12" fmla="*/ 24 w 28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9">
                  <a:moveTo>
                    <a:pt x="2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2"/>
                    <a:pt x="28" y="4"/>
                  </a:cubicBezTo>
                  <a:cubicBezTo>
                    <a:pt x="28" y="7"/>
                    <a:pt x="26" y="9"/>
                    <a:pt x="24" y="9"/>
                  </a:cubicBezTo>
                  <a:close/>
                </a:path>
              </a:pathLst>
            </a:custGeom>
            <a:solidFill>
              <a:srgbClr val="E3EA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šlîḋe">
              <a:extLst>
                <a:ext uri="{FF2B5EF4-FFF2-40B4-BE49-F238E27FC236}">
                  <a16:creationId xmlns:a16="http://schemas.microsoft.com/office/drawing/2014/main" id="{DCFA1410-9235-4FD6-B47C-BB8CEB4C8B9C}"/>
                </a:ext>
              </a:extLst>
            </p:cNvPr>
            <p:cNvSpPr/>
            <p:nvPr/>
          </p:nvSpPr>
          <p:spPr bwMode="auto">
            <a:xfrm>
              <a:off x="3525686" y="3054774"/>
              <a:ext cx="1109712" cy="1937675"/>
            </a:xfrm>
            <a:custGeom>
              <a:avLst/>
              <a:gdLst>
                <a:gd name="T0" fmla="*/ 121 w 144"/>
                <a:gd name="T1" fmla="*/ 251 h 251"/>
                <a:gd name="T2" fmla="*/ 23 w 144"/>
                <a:gd name="T3" fmla="*/ 251 h 251"/>
                <a:gd name="T4" fmla="*/ 0 w 144"/>
                <a:gd name="T5" fmla="*/ 228 h 251"/>
                <a:gd name="T6" fmla="*/ 0 w 144"/>
                <a:gd name="T7" fmla="*/ 23 h 251"/>
                <a:gd name="T8" fmla="*/ 23 w 144"/>
                <a:gd name="T9" fmla="*/ 0 h 251"/>
                <a:gd name="T10" fmla="*/ 121 w 144"/>
                <a:gd name="T11" fmla="*/ 0 h 251"/>
                <a:gd name="T12" fmla="*/ 144 w 144"/>
                <a:gd name="T13" fmla="*/ 23 h 251"/>
                <a:gd name="T14" fmla="*/ 144 w 144"/>
                <a:gd name="T15" fmla="*/ 228 h 251"/>
                <a:gd name="T16" fmla="*/ 121 w 144"/>
                <a:gd name="T1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251">
                  <a:moveTo>
                    <a:pt x="121" y="251"/>
                  </a:moveTo>
                  <a:cubicBezTo>
                    <a:pt x="23" y="251"/>
                    <a:pt x="23" y="251"/>
                    <a:pt x="23" y="251"/>
                  </a:cubicBezTo>
                  <a:cubicBezTo>
                    <a:pt x="10" y="251"/>
                    <a:pt x="0" y="240"/>
                    <a:pt x="0" y="22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4" y="0"/>
                    <a:pt x="144" y="10"/>
                    <a:pt x="144" y="23"/>
                  </a:cubicBezTo>
                  <a:cubicBezTo>
                    <a:pt x="144" y="228"/>
                    <a:pt x="144" y="228"/>
                    <a:pt x="144" y="228"/>
                  </a:cubicBezTo>
                  <a:cubicBezTo>
                    <a:pt x="144" y="240"/>
                    <a:pt x="134" y="251"/>
                    <a:pt x="121" y="251"/>
                  </a:cubicBezTo>
                </a:path>
              </a:pathLst>
            </a:custGeom>
            <a:gradFill>
              <a:gsLst>
                <a:gs pos="8000">
                  <a:srgbClr val="4CE7FB"/>
                </a:gs>
                <a:gs pos="100000">
                  <a:srgbClr val="9FEBF4"/>
                </a:gs>
              </a:gsLst>
              <a:lin ang="108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ṡḻïdè">
              <a:extLst>
                <a:ext uri="{FF2B5EF4-FFF2-40B4-BE49-F238E27FC236}">
                  <a16:creationId xmlns:a16="http://schemas.microsoft.com/office/drawing/2014/main" id="{29316CF9-33D8-4AC7-9823-A6D175FA5725}"/>
                </a:ext>
              </a:extLst>
            </p:cNvPr>
            <p:cNvSpPr/>
            <p:nvPr/>
          </p:nvSpPr>
          <p:spPr bwMode="auto">
            <a:xfrm>
              <a:off x="3586185" y="3355537"/>
              <a:ext cx="986987" cy="1358619"/>
            </a:xfrm>
            <a:custGeom>
              <a:avLst/>
              <a:gdLst>
                <a:gd name="T0" fmla="*/ 126 w 128"/>
                <a:gd name="T1" fmla="*/ 176 h 176"/>
                <a:gd name="T2" fmla="*/ 2 w 128"/>
                <a:gd name="T3" fmla="*/ 176 h 176"/>
                <a:gd name="T4" fmla="*/ 0 w 128"/>
                <a:gd name="T5" fmla="*/ 174 h 176"/>
                <a:gd name="T6" fmla="*/ 0 w 128"/>
                <a:gd name="T7" fmla="*/ 2 h 176"/>
                <a:gd name="T8" fmla="*/ 2 w 128"/>
                <a:gd name="T9" fmla="*/ 0 h 176"/>
                <a:gd name="T10" fmla="*/ 126 w 128"/>
                <a:gd name="T11" fmla="*/ 0 h 176"/>
                <a:gd name="T12" fmla="*/ 128 w 128"/>
                <a:gd name="T13" fmla="*/ 2 h 176"/>
                <a:gd name="T14" fmla="*/ 128 w 128"/>
                <a:gd name="T15" fmla="*/ 174 h 176"/>
                <a:gd name="T16" fmla="*/ 126 w 128"/>
                <a:gd name="T17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176">
                  <a:moveTo>
                    <a:pt x="126" y="176"/>
                  </a:moveTo>
                  <a:cubicBezTo>
                    <a:pt x="2" y="176"/>
                    <a:pt x="2" y="176"/>
                    <a:pt x="2" y="176"/>
                  </a:cubicBezTo>
                  <a:cubicBezTo>
                    <a:pt x="1" y="176"/>
                    <a:pt x="0" y="175"/>
                    <a:pt x="0" y="17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7" y="0"/>
                    <a:pt x="128" y="1"/>
                    <a:pt x="128" y="2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5"/>
                    <a:pt x="127" y="176"/>
                    <a:pt x="126" y="176"/>
                  </a:cubicBezTo>
                </a:path>
              </a:pathLst>
            </a:custGeom>
            <a:gradFill>
              <a:gsLst>
                <a:gs pos="0">
                  <a:srgbClr val="3C2F9B"/>
                </a:gs>
                <a:gs pos="100000">
                  <a:srgbClr val="5639C7"/>
                </a:gs>
              </a:gsLst>
              <a:lin ang="54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ŝľiḋè">
              <a:extLst>
                <a:ext uri="{FF2B5EF4-FFF2-40B4-BE49-F238E27FC236}">
                  <a16:creationId xmlns:a16="http://schemas.microsoft.com/office/drawing/2014/main" id="{B4A35DC0-7F3F-4AAD-9683-85CFC831D403}"/>
                </a:ext>
              </a:extLst>
            </p:cNvPr>
            <p:cNvSpPr/>
            <p:nvPr/>
          </p:nvSpPr>
          <p:spPr bwMode="auto">
            <a:xfrm>
              <a:off x="3964731" y="3217255"/>
              <a:ext cx="238536" cy="46671"/>
            </a:xfrm>
            <a:custGeom>
              <a:avLst/>
              <a:gdLst>
                <a:gd name="T0" fmla="*/ 28 w 31"/>
                <a:gd name="T1" fmla="*/ 6 h 6"/>
                <a:gd name="T2" fmla="*/ 2 w 31"/>
                <a:gd name="T3" fmla="*/ 6 h 6"/>
                <a:gd name="T4" fmla="*/ 0 w 31"/>
                <a:gd name="T5" fmla="*/ 3 h 6"/>
                <a:gd name="T6" fmla="*/ 2 w 31"/>
                <a:gd name="T7" fmla="*/ 0 h 6"/>
                <a:gd name="T8" fmla="*/ 28 w 31"/>
                <a:gd name="T9" fmla="*/ 0 h 6"/>
                <a:gd name="T10" fmla="*/ 31 w 31"/>
                <a:gd name="T11" fmla="*/ 3 h 6"/>
                <a:gd name="T12" fmla="*/ 28 w 31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6">
                  <a:moveTo>
                    <a:pt x="28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1" y="4"/>
                    <a:pt x="29" y="6"/>
                    <a:pt x="28" y="6"/>
                  </a:cubicBez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ṡ1íḋè">
              <a:extLst>
                <a:ext uri="{FF2B5EF4-FFF2-40B4-BE49-F238E27FC236}">
                  <a16:creationId xmlns:a16="http://schemas.microsoft.com/office/drawing/2014/main" id="{8CE2FEDD-4A48-42D2-BCC8-38D86BE27479}"/>
                </a:ext>
              </a:extLst>
            </p:cNvPr>
            <p:cNvSpPr/>
            <p:nvPr/>
          </p:nvSpPr>
          <p:spPr bwMode="auto">
            <a:xfrm>
              <a:off x="4025230" y="4776383"/>
              <a:ext cx="115812" cy="115812"/>
            </a:xfrm>
            <a:prstGeom prst="ellipse">
              <a:avLst/>
            </a:pr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ś1ïďê">
              <a:extLst>
                <a:ext uri="{FF2B5EF4-FFF2-40B4-BE49-F238E27FC236}">
                  <a16:creationId xmlns:a16="http://schemas.microsoft.com/office/drawing/2014/main" id="{FCEDB91C-A16E-4584-B351-7AA9146B4193}"/>
                </a:ext>
              </a:extLst>
            </p:cNvPr>
            <p:cNvSpPr/>
            <p:nvPr/>
          </p:nvSpPr>
          <p:spPr bwMode="auto">
            <a:xfrm>
              <a:off x="3871391" y="3664943"/>
              <a:ext cx="394103" cy="401017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śḷíḋe">
              <a:extLst>
                <a:ext uri="{FF2B5EF4-FFF2-40B4-BE49-F238E27FC236}">
                  <a16:creationId xmlns:a16="http://schemas.microsoft.com/office/drawing/2014/main" id="{579A5D1A-1613-42C4-8B8C-2F2BF3ED70B2}"/>
                </a:ext>
              </a:extLst>
            </p:cNvPr>
            <p:cNvSpPr/>
            <p:nvPr/>
          </p:nvSpPr>
          <p:spPr bwMode="auto">
            <a:xfrm>
              <a:off x="4033872" y="3796311"/>
              <a:ext cx="107168" cy="146925"/>
            </a:xfrm>
            <a:custGeom>
              <a:avLst/>
              <a:gdLst>
                <a:gd name="T0" fmla="*/ 0 w 14"/>
                <a:gd name="T1" fmla="*/ 10 h 19"/>
                <a:gd name="T2" fmla="*/ 0 w 14"/>
                <a:gd name="T3" fmla="*/ 2 h 19"/>
                <a:gd name="T4" fmla="*/ 3 w 14"/>
                <a:gd name="T5" fmla="*/ 1 h 19"/>
                <a:gd name="T6" fmla="*/ 8 w 14"/>
                <a:gd name="T7" fmla="*/ 4 h 19"/>
                <a:gd name="T8" fmla="*/ 13 w 14"/>
                <a:gd name="T9" fmla="*/ 8 h 19"/>
                <a:gd name="T10" fmla="*/ 13 w 14"/>
                <a:gd name="T11" fmla="*/ 11 h 19"/>
                <a:gd name="T12" fmla="*/ 8 w 14"/>
                <a:gd name="T13" fmla="*/ 15 h 19"/>
                <a:gd name="T14" fmla="*/ 3 w 14"/>
                <a:gd name="T15" fmla="*/ 18 h 19"/>
                <a:gd name="T16" fmla="*/ 0 w 14"/>
                <a:gd name="T17" fmla="*/ 17 h 19"/>
                <a:gd name="T18" fmla="*/ 0 w 14"/>
                <a:gd name="T1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9">
                  <a:moveTo>
                    <a:pt x="0" y="1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9"/>
                    <a:pt x="14" y="10"/>
                    <a:pt x="13" y="11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" y="19"/>
                    <a:pt x="0" y="18"/>
                    <a:pt x="0" y="17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šḻïḓe">
              <a:extLst>
                <a:ext uri="{FF2B5EF4-FFF2-40B4-BE49-F238E27FC236}">
                  <a16:creationId xmlns:a16="http://schemas.microsoft.com/office/drawing/2014/main" id="{81D8FADC-96E3-47B6-8B79-B80251C01BEF}"/>
                </a:ext>
              </a:extLst>
            </p:cNvPr>
            <p:cNvSpPr/>
            <p:nvPr/>
          </p:nvSpPr>
          <p:spPr bwMode="auto">
            <a:xfrm>
              <a:off x="3855835" y="4143743"/>
              <a:ext cx="454602" cy="46671"/>
            </a:xfrm>
            <a:custGeom>
              <a:avLst/>
              <a:gdLst>
                <a:gd name="T0" fmla="*/ 56 w 59"/>
                <a:gd name="T1" fmla="*/ 0 h 6"/>
                <a:gd name="T2" fmla="*/ 3 w 59"/>
                <a:gd name="T3" fmla="*/ 0 h 6"/>
                <a:gd name="T4" fmla="*/ 0 w 59"/>
                <a:gd name="T5" fmla="*/ 3 h 6"/>
                <a:gd name="T6" fmla="*/ 3 w 59"/>
                <a:gd name="T7" fmla="*/ 6 h 6"/>
                <a:gd name="T8" fmla="*/ 56 w 59"/>
                <a:gd name="T9" fmla="*/ 6 h 6"/>
                <a:gd name="T10" fmla="*/ 59 w 59"/>
                <a:gd name="T11" fmla="*/ 3 h 6"/>
                <a:gd name="T12" fmla="*/ 56 w 59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6">
                  <a:moveTo>
                    <a:pt x="5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7" y="6"/>
                    <a:pt x="59" y="4"/>
                    <a:pt x="59" y="3"/>
                  </a:cubicBezTo>
                  <a:cubicBezTo>
                    <a:pt x="59" y="1"/>
                    <a:pt x="57" y="0"/>
                    <a:pt x="56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ṥḻîḑé">
              <a:extLst>
                <a:ext uri="{FF2B5EF4-FFF2-40B4-BE49-F238E27FC236}">
                  <a16:creationId xmlns:a16="http://schemas.microsoft.com/office/drawing/2014/main" id="{F8F554E1-F67F-41FE-BEA1-34D0D2DD5FE0}"/>
                </a:ext>
              </a:extLst>
            </p:cNvPr>
            <p:cNvSpPr/>
            <p:nvPr/>
          </p:nvSpPr>
          <p:spPr bwMode="auto">
            <a:xfrm>
              <a:off x="3710639" y="4228442"/>
              <a:ext cx="739808" cy="22471"/>
            </a:xfrm>
            <a:custGeom>
              <a:avLst/>
              <a:gdLst>
                <a:gd name="T0" fmla="*/ 95 w 96"/>
                <a:gd name="T1" fmla="*/ 0 h 3"/>
                <a:gd name="T2" fmla="*/ 1 w 96"/>
                <a:gd name="T3" fmla="*/ 0 h 3"/>
                <a:gd name="T4" fmla="*/ 0 w 96"/>
                <a:gd name="T5" fmla="*/ 2 h 3"/>
                <a:gd name="T6" fmla="*/ 1 w 96"/>
                <a:gd name="T7" fmla="*/ 3 h 3"/>
                <a:gd name="T8" fmla="*/ 95 w 96"/>
                <a:gd name="T9" fmla="*/ 3 h 3"/>
                <a:gd name="T10" fmla="*/ 96 w 96"/>
                <a:gd name="T11" fmla="*/ 2 h 3"/>
                <a:gd name="T12" fmla="*/ 95 w 9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3">
                  <a:moveTo>
                    <a:pt x="9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6" y="3"/>
                    <a:pt x="96" y="3"/>
                    <a:pt x="96" y="2"/>
                  </a:cubicBezTo>
                  <a:cubicBezTo>
                    <a:pt x="96" y="1"/>
                    <a:pt x="96" y="0"/>
                    <a:pt x="95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ṣ1íḍe">
              <a:extLst>
                <a:ext uri="{FF2B5EF4-FFF2-40B4-BE49-F238E27FC236}">
                  <a16:creationId xmlns:a16="http://schemas.microsoft.com/office/drawing/2014/main" id="{45A33D6D-EE28-4471-8254-97F2DDC2D173}"/>
                </a:ext>
              </a:extLst>
            </p:cNvPr>
            <p:cNvSpPr/>
            <p:nvPr/>
          </p:nvSpPr>
          <p:spPr bwMode="auto">
            <a:xfrm>
              <a:off x="3710639" y="4282025"/>
              <a:ext cx="216066" cy="24199"/>
            </a:xfrm>
            <a:custGeom>
              <a:avLst/>
              <a:gdLst>
                <a:gd name="T0" fmla="*/ 27 w 28"/>
                <a:gd name="T1" fmla="*/ 0 h 3"/>
                <a:gd name="T2" fmla="*/ 1 w 28"/>
                <a:gd name="T3" fmla="*/ 0 h 3"/>
                <a:gd name="T4" fmla="*/ 0 w 28"/>
                <a:gd name="T5" fmla="*/ 2 h 3"/>
                <a:gd name="T6" fmla="*/ 1 w 28"/>
                <a:gd name="T7" fmla="*/ 3 h 3"/>
                <a:gd name="T8" fmla="*/ 27 w 28"/>
                <a:gd name="T9" fmla="*/ 3 h 3"/>
                <a:gd name="T10" fmla="*/ 28 w 28"/>
                <a:gd name="T11" fmla="*/ 2 h 3"/>
                <a:gd name="T12" fmla="*/ 27 w 2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">
                  <a:moveTo>
                    <a:pt x="2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8" y="3"/>
                    <a:pt x="28" y="2"/>
                    <a:pt x="28" y="2"/>
                  </a:cubicBezTo>
                  <a:cubicBezTo>
                    <a:pt x="28" y="1"/>
                    <a:pt x="28" y="0"/>
                    <a:pt x="27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$ḷïdê">
              <a:extLst>
                <a:ext uri="{FF2B5EF4-FFF2-40B4-BE49-F238E27FC236}">
                  <a16:creationId xmlns:a16="http://schemas.microsoft.com/office/drawing/2014/main" id="{108E859E-A9F3-43F3-8549-DA1582AE9667}"/>
                </a:ext>
              </a:extLst>
            </p:cNvPr>
            <p:cNvSpPr/>
            <p:nvPr/>
          </p:nvSpPr>
          <p:spPr bwMode="auto">
            <a:xfrm>
              <a:off x="4281051" y="4351166"/>
              <a:ext cx="160753" cy="55313"/>
            </a:xfrm>
            <a:custGeom>
              <a:avLst/>
              <a:gdLst>
                <a:gd name="T0" fmla="*/ 18 w 21"/>
                <a:gd name="T1" fmla="*/ 7 h 7"/>
                <a:gd name="T2" fmla="*/ 3 w 21"/>
                <a:gd name="T3" fmla="*/ 7 h 7"/>
                <a:gd name="T4" fmla="*/ 0 w 21"/>
                <a:gd name="T5" fmla="*/ 3 h 7"/>
                <a:gd name="T6" fmla="*/ 3 w 21"/>
                <a:gd name="T7" fmla="*/ 0 h 7"/>
                <a:gd name="T8" fmla="*/ 18 w 21"/>
                <a:gd name="T9" fmla="*/ 0 h 7"/>
                <a:gd name="T10" fmla="*/ 21 w 21"/>
                <a:gd name="T11" fmla="*/ 3 h 7"/>
                <a:gd name="T12" fmla="*/ 18 w 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18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1" y="1"/>
                    <a:pt x="21" y="3"/>
                  </a:cubicBezTo>
                  <a:cubicBezTo>
                    <a:pt x="21" y="5"/>
                    <a:pt x="20" y="7"/>
                    <a:pt x="18" y="7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śľïďê">
              <a:extLst>
                <a:ext uri="{FF2B5EF4-FFF2-40B4-BE49-F238E27FC236}">
                  <a16:creationId xmlns:a16="http://schemas.microsoft.com/office/drawing/2014/main" id="{7D5CF9DD-C2F8-4065-B2A2-2C6477AE3DE1}"/>
                </a:ext>
              </a:extLst>
            </p:cNvPr>
            <p:cNvSpPr/>
            <p:nvPr/>
          </p:nvSpPr>
          <p:spPr bwMode="auto">
            <a:xfrm>
              <a:off x="7610186" y="2206070"/>
              <a:ext cx="762279" cy="463244"/>
            </a:xfrm>
            <a:custGeom>
              <a:avLst/>
              <a:gdLst>
                <a:gd name="T0" fmla="*/ 99 w 99"/>
                <a:gd name="T1" fmla="*/ 21 h 60"/>
                <a:gd name="T2" fmla="*/ 93 w 99"/>
                <a:gd name="T3" fmla="*/ 21 h 60"/>
                <a:gd name="T4" fmla="*/ 93 w 99"/>
                <a:gd name="T5" fmla="*/ 22 h 60"/>
                <a:gd name="T6" fmla="*/ 93 w 99"/>
                <a:gd name="T7" fmla="*/ 60 h 60"/>
                <a:gd name="T8" fmla="*/ 99 w 99"/>
                <a:gd name="T9" fmla="*/ 60 h 60"/>
                <a:gd name="T10" fmla="*/ 99 w 99"/>
                <a:gd name="T11" fmla="*/ 22 h 60"/>
                <a:gd name="T12" fmla="*/ 99 w 99"/>
                <a:gd name="T13" fmla="*/ 21 h 60"/>
                <a:gd name="T14" fmla="*/ 27 w 99"/>
                <a:gd name="T15" fmla="*/ 0 h 60"/>
                <a:gd name="T16" fmla="*/ 0 w 99"/>
                <a:gd name="T17" fmla="*/ 0 h 60"/>
                <a:gd name="T18" fmla="*/ 0 w 99"/>
                <a:gd name="T19" fmla="*/ 5 h 60"/>
                <a:gd name="T20" fmla="*/ 22 w 99"/>
                <a:gd name="T21" fmla="*/ 5 h 60"/>
                <a:gd name="T22" fmla="*/ 27 w 99"/>
                <a:gd name="T2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60">
                  <a:moveTo>
                    <a:pt x="99" y="21"/>
                  </a:moveTo>
                  <a:cubicBezTo>
                    <a:pt x="93" y="21"/>
                    <a:pt x="93" y="21"/>
                    <a:pt x="93" y="21"/>
                  </a:cubicBezTo>
                  <a:cubicBezTo>
                    <a:pt x="93" y="21"/>
                    <a:pt x="93" y="22"/>
                    <a:pt x="93" y="22"/>
                  </a:cubicBezTo>
                  <a:cubicBezTo>
                    <a:pt x="93" y="60"/>
                    <a:pt x="93" y="60"/>
                    <a:pt x="93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22"/>
                    <a:pt x="99" y="21"/>
                    <a:pt x="99" y="21"/>
                  </a:cubicBezTo>
                  <a:moveTo>
                    <a:pt x="2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3"/>
                    <a:pt x="25" y="1"/>
                    <a:pt x="27" y="0"/>
                  </a:cubicBezTo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şľiḓè">
              <a:extLst>
                <a:ext uri="{FF2B5EF4-FFF2-40B4-BE49-F238E27FC236}">
                  <a16:creationId xmlns:a16="http://schemas.microsoft.com/office/drawing/2014/main" id="{15E960EE-0983-40B6-A3F2-7BF272AAD81D}"/>
                </a:ext>
              </a:extLst>
            </p:cNvPr>
            <p:cNvSpPr/>
            <p:nvPr/>
          </p:nvSpPr>
          <p:spPr bwMode="auto">
            <a:xfrm>
              <a:off x="7610186" y="2244097"/>
              <a:ext cx="717337" cy="425217"/>
            </a:xfrm>
            <a:custGeom>
              <a:avLst/>
              <a:gdLst>
                <a:gd name="T0" fmla="*/ 22 w 93"/>
                <a:gd name="T1" fmla="*/ 0 h 55"/>
                <a:gd name="T2" fmla="*/ 0 w 93"/>
                <a:gd name="T3" fmla="*/ 0 h 55"/>
                <a:gd name="T4" fmla="*/ 0 w 93"/>
                <a:gd name="T5" fmla="*/ 16 h 55"/>
                <a:gd name="T6" fmla="*/ 61 w 93"/>
                <a:gd name="T7" fmla="*/ 16 h 55"/>
                <a:gd name="T8" fmla="*/ 72 w 93"/>
                <a:gd name="T9" fmla="*/ 26 h 55"/>
                <a:gd name="T10" fmla="*/ 72 w 93"/>
                <a:gd name="T11" fmla="*/ 55 h 55"/>
                <a:gd name="T12" fmla="*/ 93 w 93"/>
                <a:gd name="T13" fmla="*/ 55 h 55"/>
                <a:gd name="T14" fmla="*/ 93 w 93"/>
                <a:gd name="T15" fmla="*/ 17 h 55"/>
                <a:gd name="T16" fmla="*/ 93 w 93"/>
                <a:gd name="T17" fmla="*/ 16 h 55"/>
                <a:gd name="T18" fmla="*/ 32 w 93"/>
                <a:gd name="T19" fmla="*/ 16 h 55"/>
                <a:gd name="T20" fmla="*/ 21 w 93"/>
                <a:gd name="T21" fmla="*/ 5 h 55"/>
                <a:gd name="T22" fmla="*/ 22 w 93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55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7" y="16"/>
                    <a:pt x="72" y="20"/>
                    <a:pt x="72" y="2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7"/>
                    <a:pt x="93" y="16"/>
                    <a:pt x="93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6" y="16"/>
                    <a:pt x="21" y="11"/>
                    <a:pt x="21" y="5"/>
                  </a:cubicBezTo>
                  <a:cubicBezTo>
                    <a:pt x="21" y="3"/>
                    <a:pt x="22" y="1"/>
                    <a:pt x="22" y="0"/>
                  </a:cubicBezTo>
                </a:path>
              </a:pathLst>
            </a:custGeom>
            <a:solidFill>
              <a:srgbClr val="1A2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îşļïḑé">
              <a:extLst>
                <a:ext uri="{FF2B5EF4-FFF2-40B4-BE49-F238E27FC236}">
                  <a16:creationId xmlns:a16="http://schemas.microsoft.com/office/drawing/2014/main" id="{CDBEB25F-1590-45DF-B3F8-0B821C0CEBF1}"/>
                </a:ext>
              </a:extLst>
            </p:cNvPr>
            <p:cNvSpPr/>
            <p:nvPr/>
          </p:nvSpPr>
          <p:spPr bwMode="auto">
            <a:xfrm>
              <a:off x="6801237" y="2306324"/>
              <a:ext cx="131368" cy="122726"/>
            </a:xfrm>
            <a:prstGeom prst="ellipse">
              <a:avLst/>
            </a:pr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şḷîḍè">
              <a:extLst>
                <a:ext uri="{FF2B5EF4-FFF2-40B4-BE49-F238E27FC236}">
                  <a16:creationId xmlns:a16="http://schemas.microsoft.com/office/drawing/2014/main" id="{CA2FF278-9E3C-49A6-A672-16B9226DD51B}"/>
                </a:ext>
              </a:extLst>
            </p:cNvPr>
            <p:cNvSpPr/>
            <p:nvPr/>
          </p:nvSpPr>
          <p:spPr bwMode="auto">
            <a:xfrm>
              <a:off x="3300978" y="2622643"/>
              <a:ext cx="663753" cy="656839"/>
            </a:xfrm>
            <a:prstGeom prst="ellipse">
              <a:avLst/>
            </a:prstGeom>
            <a:gradFill>
              <a:gsLst>
                <a:gs pos="8000">
                  <a:srgbClr val="CC68FF"/>
                </a:gs>
                <a:gs pos="100000">
                  <a:srgbClr val="DC75B7"/>
                </a:gs>
              </a:gsLst>
              <a:lin ang="108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ṣḷîde">
              <a:extLst>
                <a:ext uri="{FF2B5EF4-FFF2-40B4-BE49-F238E27FC236}">
                  <a16:creationId xmlns:a16="http://schemas.microsoft.com/office/drawing/2014/main" id="{76B4FAD0-03B2-4D79-8740-ECACF67B16EF}"/>
                </a:ext>
              </a:extLst>
            </p:cNvPr>
            <p:cNvSpPr/>
            <p:nvPr/>
          </p:nvSpPr>
          <p:spPr bwMode="auto">
            <a:xfrm>
              <a:off x="3463459" y="2800682"/>
              <a:ext cx="338790" cy="300763"/>
            </a:xfrm>
            <a:custGeom>
              <a:avLst/>
              <a:gdLst>
                <a:gd name="T0" fmla="*/ 80 w 196"/>
                <a:gd name="T1" fmla="*/ 174 h 174"/>
                <a:gd name="T2" fmla="*/ 0 w 196"/>
                <a:gd name="T3" fmla="*/ 116 h 174"/>
                <a:gd name="T4" fmla="*/ 31 w 196"/>
                <a:gd name="T5" fmla="*/ 76 h 174"/>
                <a:gd name="T6" fmla="*/ 71 w 196"/>
                <a:gd name="T7" fmla="*/ 107 h 174"/>
                <a:gd name="T8" fmla="*/ 156 w 196"/>
                <a:gd name="T9" fmla="*/ 0 h 174"/>
                <a:gd name="T10" fmla="*/ 196 w 196"/>
                <a:gd name="T11" fmla="*/ 31 h 174"/>
                <a:gd name="T12" fmla="*/ 80 w 196"/>
                <a:gd name="T13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174">
                  <a:moveTo>
                    <a:pt x="80" y="174"/>
                  </a:moveTo>
                  <a:lnTo>
                    <a:pt x="0" y="116"/>
                  </a:lnTo>
                  <a:lnTo>
                    <a:pt x="31" y="76"/>
                  </a:lnTo>
                  <a:lnTo>
                    <a:pt x="71" y="107"/>
                  </a:lnTo>
                  <a:lnTo>
                    <a:pt x="156" y="0"/>
                  </a:lnTo>
                  <a:lnTo>
                    <a:pt x="196" y="31"/>
                  </a:lnTo>
                  <a:lnTo>
                    <a:pt x="80" y="1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śḷïḓè">
              <a:extLst>
                <a:ext uri="{FF2B5EF4-FFF2-40B4-BE49-F238E27FC236}">
                  <a16:creationId xmlns:a16="http://schemas.microsoft.com/office/drawing/2014/main" id="{9DA8AAA0-7E19-43AF-982A-E8DB95706086}"/>
                </a:ext>
              </a:extLst>
            </p:cNvPr>
            <p:cNvSpPr/>
            <p:nvPr/>
          </p:nvSpPr>
          <p:spPr bwMode="auto">
            <a:xfrm>
              <a:off x="8782124" y="2498190"/>
              <a:ext cx="655111" cy="656839"/>
            </a:xfrm>
            <a:prstGeom prst="ellipse">
              <a:avLst/>
            </a:prstGeom>
            <a:solidFill>
              <a:srgbClr val="FFCC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šḷiďé">
              <a:extLst>
                <a:ext uri="{FF2B5EF4-FFF2-40B4-BE49-F238E27FC236}">
                  <a16:creationId xmlns:a16="http://schemas.microsoft.com/office/drawing/2014/main" id="{AB619C78-26C4-4062-A928-D8080E67B269}"/>
                </a:ext>
              </a:extLst>
            </p:cNvPr>
            <p:cNvSpPr/>
            <p:nvPr/>
          </p:nvSpPr>
          <p:spPr bwMode="auto">
            <a:xfrm>
              <a:off x="6177240" y="2328794"/>
              <a:ext cx="662025" cy="663753"/>
            </a:xfrm>
            <a:prstGeom prst="ellipse">
              <a:avLst/>
            </a:pr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ṡḻîḓé">
              <a:extLst>
                <a:ext uri="{FF2B5EF4-FFF2-40B4-BE49-F238E27FC236}">
                  <a16:creationId xmlns:a16="http://schemas.microsoft.com/office/drawing/2014/main" id="{E4862644-2121-4F02-9047-74167A7BA737}"/>
                </a:ext>
              </a:extLst>
            </p:cNvPr>
            <p:cNvSpPr/>
            <p:nvPr/>
          </p:nvSpPr>
          <p:spPr bwMode="auto">
            <a:xfrm>
              <a:off x="6322436" y="2475719"/>
              <a:ext cx="369904" cy="354348"/>
            </a:xfrm>
            <a:custGeom>
              <a:avLst/>
              <a:gdLst>
                <a:gd name="T0" fmla="*/ 107 w 214"/>
                <a:gd name="T1" fmla="*/ 0 h 205"/>
                <a:gd name="T2" fmla="*/ 147 w 214"/>
                <a:gd name="T3" fmla="*/ 62 h 205"/>
                <a:gd name="T4" fmla="*/ 214 w 214"/>
                <a:gd name="T5" fmla="*/ 80 h 205"/>
                <a:gd name="T6" fmla="*/ 170 w 214"/>
                <a:gd name="T7" fmla="*/ 134 h 205"/>
                <a:gd name="T8" fmla="*/ 174 w 214"/>
                <a:gd name="T9" fmla="*/ 205 h 205"/>
                <a:gd name="T10" fmla="*/ 107 w 214"/>
                <a:gd name="T11" fmla="*/ 179 h 205"/>
                <a:gd name="T12" fmla="*/ 40 w 214"/>
                <a:gd name="T13" fmla="*/ 205 h 205"/>
                <a:gd name="T14" fmla="*/ 45 w 214"/>
                <a:gd name="T15" fmla="*/ 134 h 205"/>
                <a:gd name="T16" fmla="*/ 0 w 214"/>
                <a:gd name="T17" fmla="*/ 80 h 205"/>
                <a:gd name="T18" fmla="*/ 72 w 214"/>
                <a:gd name="T19" fmla="*/ 62 h 205"/>
                <a:gd name="T20" fmla="*/ 107 w 214"/>
                <a:gd name="T21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4" h="205">
                  <a:moveTo>
                    <a:pt x="107" y="0"/>
                  </a:moveTo>
                  <a:lnTo>
                    <a:pt x="147" y="62"/>
                  </a:lnTo>
                  <a:lnTo>
                    <a:pt x="214" y="80"/>
                  </a:lnTo>
                  <a:lnTo>
                    <a:pt x="170" y="134"/>
                  </a:lnTo>
                  <a:lnTo>
                    <a:pt x="174" y="205"/>
                  </a:lnTo>
                  <a:lnTo>
                    <a:pt x="107" y="179"/>
                  </a:lnTo>
                  <a:lnTo>
                    <a:pt x="40" y="205"/>
                  </a:lnTo>
                  <a:lnTo>
                    <a:pt x="45" y="134"/>
                  </a:lnTo>
                  <a:lnTo>
                    <a:pt x="0" y="80"/>
                  </a:lnTo>
                  <a:lnTo>
                    <a:pt x="72" y="62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CC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ṩḷiḑe">
              <a:extLst>
                <a:ext uri="{FF2B5EF4-FFF2-40B4-BE49-F238E27FC236}">
                  <a16:creationId xmlns:a16="http://schemas.microsoft.com/office/drawing/2014/main" id="{4AAAE324-8142-41F9-B389-1C3DCEAF01B1}"/>
                </a:ext>
              </a:extLst>
            </p:cNvPr>
            <p:cNvSpPr/>
            <p:nvPr/>
          </p:nvSpPr>
          <p:spPr bwMode="auto">
            <a:xfrm>
              <a:off x="8951520" y="2660671"/>
              <a:ext cx="222980" cy="278293"/>
            </a:xfrm>
            <a:custGeom>
              <a:avLst/>
              <a:gdLst>
                <a:gd name="T0" fmla="*/ 24 w 29"/>
                <a:gd name="T1" fmla="*/ 11 h 36"/>
                <a:gd name="T2" fmla="*/ 24 w 29"/>
                <a:gd name="T3" fmla="*/ 1 h 36"/>
                <a:gd name="T4" fmla="*/ 22 w 29"/>
                <a:gd name="T5" fmla="*/ 0 h 36"/>
                <a:gd name="T6" fmla="*/ 16 w 29"/>
                <a:gd name="T7" fmla="*/ 6 h 36"/>
                <a:gd name="T8" fmla="*/ 16 w 29"/>
                <a:gd name="T9" fmla="*/ 11 h 36"/>
                <a:gd name="T10" fmla="*/ 5 w 29"/>
                <a:gd name="T11" fmla="*/ 11 h 36"/>
                <a:gd name="T12" fmla="*/ 4 w 29"/>
                <a:gd name="T13" fmla="*/ 11 h 36"/>
                <a:gd name="T14" fmla="*/ 0 w 29"/>
                <a:gd name="T15" fmla="*/ 14 h 36"/>
                <a:gd name="T16" fmla="*/ 2 w 29"/>
                <a:gd name="T17" fmla="*/ 17 h 36"/>
                <a:gd name="T18" fmla="*/ 0 w 29"/>
                <a:gd name="T19" fmla="*/ 20 h 36"/>
                <a:gd name="T20" fmla="*/ 2 w 29"/>
                <a:gd name="T21" fmla="*/ 23 h 36"/>
                <a:gd name="T22" fmla="*/ 0 w 29"/>
                <a:gd name="T23" fmla="*/ 26 h 36"/>
                <a:gd name="T24" fmla="*/ 2 w 29"/>
                <a:gd name="T25" fmla="*/ 30 h 36"/>
                <a:gd name="T26" fmla="*/ 0 w 29"/>
                <a:gd name="T27" fmla="*/ 33 h 36"/>
                <a:gd name="T28" fmla="*/ 4 w 29"/>
                <a:gd name="T29" fmla="*/ 36 h 36"/>
                <a:gd name="T30" fmla="*/ 5 w 29"/>
                <a:gd name="T31" fmla="*/ 36 h 36"/>
                <a:gd name="T32" fmla="*/ 21 w 29"/>
                <a:gd name="T33" fmla="*/ 36 h 36"/>
                <a:gd name="T34" fmla="*/ 22 w 29"/>
                <a:gd name="T35" fmla="*/ 36 h 36"/>
                <a:gd name="T36" fmla="*/ 29 w 29"/>
                <a:gd name="T37" fmla="*/ 30 h 36"/>
                <a:gd name="T38" fmla="*/ 29 w 29"/>
                <a:gd name="T39" fmla="*/ 17 h 36"/>
                <a:gd name="T40" fmla="*/ 24 w 29"/>
                <a:gd name="T4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36">
                  <a:moveTo>
                    <a:pt x="24" y="11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0"/>
                    <a:pt x="22" y="0"/>
                  </a:cubicBezTo>
                  <a:cubicBezTo>
                    <a:pt x="19" y="0"/>
                    <a:pt x="16" y="3"/>
                    <a:pt x="16" y="6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1"/>
                    <a:pt x="0" y="12"/>
                    <a:pt x="0" y="14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1" y="18"/>
                    <a:pt x="0" y="19"/>
                    <a:pt x="0" y="20"/>
                  </a:cubicBezTo>
                  <a:cubicBezTo>
                    <a:pt x="0" y="22"/>
                    <a:pt x="1" y="23"/>
                    <a:pt x="2" y="23"/>
                  </a:cubicBezTo>
                  <a:cubicBezTo>
                    <a:pt x="1" y="24"/>
                    <a:pt x="0" y="25"/>
                    <a:pt x="0" y="26"/>
                  </a:cubicBezTo>
                  <a:cubicBezTo>
                    <a:pt x="0" y="28"/>
                    <a:pt x="1" y="29"/>
                    <a:pt x="2" y="30"/>
                  </a:cubicBezTo>
                  <a:cubicBezTo>
                    <a:pt x="1" y="30"/>
                    <a:pt x="0" y="31"/>
                    <a:pt x="0" y="33"/>
                  </a:cubicBezTo>
                  <a:cubicBezTo>
                    <a:pt x="0" y="35"/>
                    <a:pt x="2" y="36"/>
                    <a:pt x="4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6" y="36"/>
                    <a:pt x="29" y="33"/>
                    <a:pt x="29" y="30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4"/>
                    <a:pt x="27" y="12"/>
                    <a:pt x="24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ṣḷidè">
              <a:extLst>
                <a:ext uri="{FF2B5EF4-FFF2-40B4-BE49-F238E27FC236}">
                  <a16:creationId xmlns:a16="http://schemas.microsoft.com/office/drawing/2014/main" id="{95999E07-2F11-4696-A05C-140C82610E44}"/>
                </a:ext>
              </a:extLst>
            </p:cNvPr>
            <p:cNvSpPr/>
            <p:nvPr/>
          </p:nvSpPr>
          <p:spPr bwMode="auto">
            <a:xfrm>
              <a:off x="9190056" y="2754011"/>
              <a:ext cx="77784" cy="162481"/>
            </a:xfrm>
            <a:custGeom>
              <a:avLst/>
              <a:gdLst>
                <a:gd name="T0" fmla="*/ 8 w 10"/>
                <a:gd name="T1" fmla="*/ 0 h 21"/>
                <a:gd name="T2" fmla="*/ 3 w 10"/>
                <a:gd name="T3" fmla="*/ 0 h 21"/>
                <a:gd name="T4" fmla="*/ 0 w 10"/>
                <a:gd name="T5" fmla="*/ 3 h 21"/>
                <a:gd name="T6" fmla="*/ 0 w 10"/>
                <a:gd name="T7" fmla="*/ 18 h 21"/>
                <a:gd name="T8" fmla="*/ 3 w 10"/>
                <a:gd name="T9" fmla="*/ 21 h 21"/>
                <a:gd name="T10" fmla="*/ 8 w 10"/>
                <a:gd name="T11" fmla="*/ 21 h 21"/>
                <a:gd name="T12" fmla="*/ 10 w 10"/>
                <a:gd name="T13" fmla="*/ 18 h 21"/>
                <a:gd name="T14" fmla="*/ 10 w 10"/>
                <a:gd name="T15" fmla="*/ 3 h 21"/>
                <a:gd name="T16" fmla="*/ 8 w 10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1">
                  <a:moveTo>
                    <a:pt x="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1" y="21"/>
                    <a:pt x="3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10" y="20"/>
                    <a:pt x="10" y="1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9" y="0"/>
                    <a:pt x="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sḻíḑé">
              <a:extLst>
                <a:ext uri="{FF2B5EF4-FFF2-40B4-BE49-F238E27FC236}">
                  <a16:creationId xmlns:a16="http://schemas.microsoft.com/office/drawing/2014/main" id="{8BDF2B41-C596-42F4-8268-C3EEAEE8997F}"/>
                </a:ext>
              </a:extLst>
            </p:cNvPr>
            <p:cNvSpPr/>
            <p:nvPr/>
          </p:nvSpPr>
          <p:spPr bwMode="auto">
            <a:xfrm>
              <a:off x="7904034" y="1924320"/>
              <a:ext cx="1275650" cy="883275"/>
            </a:xfrm>
            <a:custGeom>
              <a:avLst/>
              <a:gdLst>
                <a:gd name="T0" fmla="*/ 32 w 189"/>
                <a:gd name="T1" fmla="*/ 54 h 130"/>
                <a:gd name="T2" fmla="*/ 21 w 189"/>
                <a:gd name="T3" fmla="*/ 43 h 130"/>
                <a:gd name="T4" fmla="*/ 32 w 189"/>
                <a:gd name="T5" fmla="*/ 31 h 130"/>
                <a:gd name="T6" fmla="*/ 151 w 189"/>
                <a:gd name="T7" fmla="*/ 31 h 130"/>
                <a:gd name="T8" fmla="*/ 162 w 189"/>
                <a:gd name="T9" fmla="*/ 43 h 130"/>
                <a:gd name="T10" fmla="*/ 151 w 189"/>
                <a:gd name="T11" fmla="*/ 54 h 130"/>
                <a:gd name="T12" fmla="*/ 32 w 189"/>
                <a:gd name="T13" fmla="*/ 54 h 130"/>
                <a:gd name="T14" fmla="*/ 177 w 189"/>
                <a:gd name="T15" fmla="*/ 0 h 130"/>
                <a:gd name="T16" fmla="*/ 13 w 189"/>
                <a:gd name="T17" fmla="*/ 0 h 130"/>
                <a:gd name="T18" fmla="*/ 0 w 189"/>
                <a:gd name="T19" fmla="*/ 12 h 130"/>
                <a:gd name="T20" fmla="*/ 0 w 189"/>
                <a:gd name="T21" fmla="*/ 117 h 130"/>
                <a:gd name="T22" fmla="*/ 13 w 189"/>
                <a:gd name="T23" fmla="*/ 130 h 130"/>
                <a:gd name="T24" fmla="*/ 177 w 189"/>
                <a:gd name="T25" fmla="*/ 130 h 130"/>
                <a:gd name="T26" fmla="*/ 189 w 189"/>
                <a:gd name="T27" fmla="*/ 117 h 130"/>
                <a:gd name="T28" fmla="*/ 189 w 189"/>
                <a:gd name="T29" fmla="*/ 12 h 130"/>
                <a:gd name="T30" fmla="*/ 177 w 189"/>
                <a:gd name="T31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9" h="130">
                  <a:moveTo>
                    <a:pt x="32" y="54"/>
                  </a:moveTo>
                  <a:cubicBezTo>
                    <a:pt x="26" y="54"/>
                    <a:pt x="21" y="49"/>
                    <a:pt x="21" y="43"/>
                  </a:cubicBezTo>
                  <a:cubicBezTo>
                    <a:pt x="21" y="36"/>
                    <a:pt x="26" y="31"/>
                    <a:pt x="32" y="31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57" y="31"/>
                    <a:pt x="162" y="36"/>
                    <a:pt x="162" y="43"/>
                  </a:cubicBezTo>
                  <a:cubicBezTo>
                    <a:pt x="162" y="49"/>
                    <a:pt x="157" y="54"/>
                    <a:pt x="151" y="54"/>
                  </a:cubicBezTo>
                  <a:cubicBezTo>
                    <a:pt x="32" y="54"/>
                    <a:pt x="32" y="54"/>
                    <a:pt x="32" y="54"/>
                  </a:cubicBezTo>
                  <a:moveTo>
                    <a:pt x="177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4"/>
                    <a:pt x="6" y="130"/>
                    <a:pt x="13" y="130"/>
                  </a:cubicBezTo>
                  <a:cubicBezTo>
                    <a:pt x="177" y="130"/>
                    <a:pt x="177" y="130"/>
                    <a:pt x="177" y="130"/>
                  </a:cubicBezTo>
                  <a:cubicBezTo>
                    <a:pt x="184" y="130"/>
                    <a:pt x="189" y="124"/>
                    <a:pt x="189" y="117"/>
                  </a:cubicBezTo>
                  <a:cubicBezTo>
                    <a:pt x="189" y="12"/>
                    <a:pt x="189" y="12"/>
                    <a:pt x="189" y="12"/>
                  </a:cubicBezTo>
                  <a:cubicBezTo>
                    <a:pt x="189" y="5"/>
                    <a:pt x="184" y="0"/>
                    <a:pt x="177" y="0"/>
                  </a:cubicBezTo>
                </a:path>
              </a:pathLst>
            </a:custGeom>
            <a:gradFill>
              <a:gsLst>
                <a:gs pos="8000">
                  <a:srgbClr val="4DE7FB">
                    <a:alpha val="50000"/>
                  </a:srgbClr>
                </a:gs>
                <a:gs pos="100000">
                  <a:srgbClr val="9CEBF4">
                    <a:alpha val="5000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ŝ1idé">
              <a:extLst>
                <a:ext uri="{FF2B5EF4-FFF2-40B4-BE49-F238E27FC236}">
                  <a16:creationId xmlns:a16="http://schemas.microsoft.com/office/drawing/2014/main" id="{6AA54AE8-8ECF-4C96-9903-9372330AA05A}"/>
                </a:ext>
              </a:extLst>
            </p:cNvPr>
            <p:cNvSpPr/>
            <p:nvPr/>
          </p:nvSpPr>
          <p:spPr bwMode="auto">
            <a:xfrm>
              <a:off x="8045773" y="2135200"/>
              <a:ext cx="952417" cy="155567"/>
            </a:xfrm>
            <a:custGeom>
              <a:avLst/>
              <a:gdLst>
                <a:gd name="T0" fmla="*/ 130 w 141"/>
                <a:gd name="T1" fmla="*/ 0 h 23"/>
                <a:gd name="T2" fmla="*/ 11 w 141"/>
                <a:gd name="T3" fmla="*/ 0 h 23"/>
                <a:gd name="T4" fmla="*/ 0 w 141"/>
                <a:gd name="T5" fmla="*/ 12 h 23"/>
                <a:gd name="T6" fmla="*/ 11 w 141"/>
                <a:gd name="T7" fmla="*/ 23 h 23"/>
                <a:gd name="T8" fmla="*/ 130 w 141"/>
                <a:gd name="T9" fmla="*/ 23 h 23"/>
                <a:gd name="T10" fmla="*/ 141 w 141"/>
                <a:gd name="T11" fmla="*/ 12 h 23"/>
                <a:gd name="T12" fmla="*/ 130 w 141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23">
                  <a:moveTo>
                    <a:pt x="13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8"/>
                    <a:pt x="5" y="23"/>
                    <a:pt x="11" y="23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6" y="23"/>
                    <a:pt x="141" y="18"/>
                    <a:pt x="141" y="12"/>
                  </a:cubicBezTo>
                  <a:cubicBezTo>
                    <a:pt x="141" y="5"/>
                    <a:pt x="136" y="0"/>
                    <a:pt x="130" y="0"/>
                  </a:cubicBezTo>
                </a:path>
              </a:pathLst>
            </a:custGeom>
            <a:solidFill>
              <a:srgbClr val="4DE7FB">
                <a:alpha val="7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191064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项目设计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1112" y="1"/>
            <a:ext cx="2619375" cy="66960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266824" y="2055375"/>
            <a:ext cx="614362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本项目采用了面向对象的设计思想，主要功能包括：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核心</a:t>
            </a:r>
            <a:r>
              <a:rPr lang="en-US" altLang="zh-CN" dirty="0"/>
              <a:t>(</a:t>
            </a:r>
            <a:r>
              <a:rPr lang="en-US" altLang="zh-CN" dirty="0" err="1"/>
              <a:t>Database.Core.Main</a:t>
            </a:r>
            <a:r>
              <a:rPr lang="en-US" altLang="zh-CN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转译器</a:t>
            </a:r>
            <a:r>
              <a:rPr lang="en-US" altLang="zh-CN" dirty="0"/>
              <a:t>(</a:t>
            </a:r>
            <a:r>
              <a:rPr lang="en-US" altLang="zh-CN" dirty="0" err="1"/>
              <a:t>Database.Core.Executor</a:t>
            </a:r>
            <a:r>
              <a:rPr lang="en-US" altLang="zh-CN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数据库的</a:t>
            </a:r>
            <a:r>
              <a:rPr lang="en-US" altLang="zh-CN" dirty="0"/>
              <a:t>CRUD(CREATE DATABASE, USE, DROP DATABA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表的</a:t>
            </a:r>
            <a:r>
              <a:rPr lang="en-US" altLang="zh-CN" dirty="0"/>
              <a:t>CRUD(CREATE TABLE, SELECT, DELETE, DROP T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基础查询</a:t>
            </a:r>
            <a:r>
              <a:rPr lang="en-US" altLang="zh-CN" dirty="0"/>
              <a:t>(WHER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GUI</a:t>
            </a:r>
            <a:r>
              <a:rPr lang="zh-CN" altLang="en-US" dirty="0"/>
              <a:t>查询、</a:t>
            </a:r>
            <a:r>
              <a:rPr lang="zh-CN" altLang="en-US" dirty="0" smtClean="0"/>
              <a:t>命令构造</a:t>
            </a:r>
            <a:r>
              <a:rPr lang="zh-CN" altLang="en-US" dirty="0"/>
              <a:t>功能</a:t>
            </a:r>
          </a:p>
        </p:txBody>
      </p:sp>
    </p:spTree>
    <p:extLst>
      <p:ext uri="{BB962C8B-B14F-4D97-AF65-F5344CB8AC3E}">
        <p14:creationId xmlns:p14="http://schemas.microsoft.com/office/powerpoint/2010/main" val="1319365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技术说明</a:t>
            </a:r>
            <a:endParaRPr lang="zh-CN" altLang="en-US" sz="4800" dirty="0"/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1EF15F11-43C9-46B4-A251-6E6BFF17E647}"/>
              </a:ext>
            </a:extLst>
          </p:cNvPr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60787578-92C1-4BF2-89D1-8ECE42FF765C}"/>
              </a:ext>
            </a:extLst>
          </p:cNvPr>
          <p:cNvCxnSpPr>
            <a:cxnSpLocks/>
          </p:cNvCxnSpPr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>
            <a:extLst>
              <a:ext uri="{FF2B5EF4-FFF2-40B4-BE49-F238E27FC236}">
                <a16:creationId xmlns:a16="http://schemas.microsoft.com/office/drawing/2014/main" id="{309F3FF9-E043-4B12-ADA3-E580F73A9191}"/>
              </a:ext>
            </a:extLst>
          </p:cNvPr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D57D805-4545-4C42-A553-3B1CB655C465}"/>
                </a:ext>
              </a:extLst>
            </p:cNvPr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233E383B-784A-4CFC-8B9B-10CAE15FC541}"/>
                </a:ext>
              </a:extLst>
            </p:cNvPr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D8A1CC8A-F4DE-4605-9782-7C05DB5F551E}"/>
                </a:ext>
              </a:extLst>
            </p:cNvPr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CC7B58F-FDC2-4175-A147-3BDB2D456081}"/>
                </a:ext>
              </a:extLst>
            </p:cNvPr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43074D3-95FC-445F-9F89-2FD7C5DC0F5A}"/>
                </a:ext>
              </a:extLst>
            </p:cNvPr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BD3DC055-74BB-481F-89AD-C29BDF7722D4}"/>
                </a:ext>
              </a:extLst>
            </p:cNvPr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581083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驱动开发（</a:t>
            </a:r>
            <a:r>
              <a:rPr lang="en-US" altLang="zh-CN" dirty="0" smtClean="0"/>
              <a:t>TDD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5287" y="1639094"/>
            <a:ext cx="2714625" cy="39909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009651" y="1326257"/>
            <a:ext cx="55435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本</a:t>
            </a:r>
            <a:r>
              <a:rPr lang="zh-CN" altLang="en-US" dirty="0" smtClean="0"/>
              <a:t>系统最大的特点是测试驱动开发：</a:t>
            </a:r>
            <a:endParaRPr lang="en-US" altLang="zh-CN" dirty="0" smtClean="0"/>
          </a:p>
          <a:p>
            <a:r>
              <a:rPr lang="zh-CN" altLang="en-US" b="1" dirty="0"/>
              <a:t>测试驱动开发</a:t>
            </a:r>
            <a:r>
              <a:rPr lang="zh-CN" altLang="en-US" dirty="0"/>
              <a:t>，英文全称</a:t>
            </a:r>
            <a:r>
              <a:rPr lang="en-US" altLang="zh-CN" dirty="0"/>
              <a:t>Test-Driven Development</a:t>
            </a:r>
            <a:r>
              <a:rPr lang="zh-CN" altLang="en-US" dirty="0"/>
              <a:t>，简称</a:t>
            </a:r>
            <a:r>
              <a:rPr lang="en-US" altLang="zh-CN" dirty="0"/>
              <a:t>TDD</a:t>
            </a:r>
            <a:r>
              <a:rPr lang="zh-CN" altLang="en-US" dirty="0"/>
              <a:t>，是一种不同于传统软件</a:t>
            </a:r>
            <a:r>
              <a:rPr lang="zh-CN" altLang="en-US" b="1" dirty="0"/>
              <a:t>开发</a:t>
            </a:r>
            <a:r>
              <a:rPr lang="zh-CN" altLang="en-US" dirty="0"/>
              <a:t>流程的新型的</a:t>
            </a:r>
            <a:r>
              <a:rPr lang="zh-CN" altLang="en-US" b="1" dirty="0"/>
              <a:t>开发</a:t>
            </a:r>
            <a:r>
              <a:rPr lang="zh-CN" altLang="en-US" dirty="0"/>
              <a:t>方法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r>
              <a:rPr lang="zh-CN" altLang="en-US" dirty="0" smtClean="0"/>
              <a:t>它</a:t>
            </a:r>
            <a:r>
              <a:rPr lang="zh-CN" altLang="en-US" dirty="0"/>
              <a:t>要求在编写某个功能的代码之前先编写</a:t>
            </a:r>
            <a:r>
              <a:rPr lang="zh-CN" altLang="en-US" b="1" dirty="0"/>
              <a:t>测试</a:t>
            </a:r>
            <a:r>
              <a:rPr lang="zh-CN" altLang="en-US" dirty="0"/>
              <a:t>代码，然后只编写使</a:t>
            </a:r>
            <a:r>
              <a:rPr lang="zh-CN" altLang="en-US" b="1" dirty="0"/>
              <a:t>测试</a:t>
            </a:r>
            <a:r>
              <a:rPr lang="zh-CN" altLang="en-US" dirty="0"/>
              <a:t>通过的功能代码，通过</a:t>
            </a:r>
            <a:r>
              <a:rPr lang="zh-CN" altLang="en-US" b="1" dirty="0"/>
              <a:t>测试</a:t>
            </a:r>
            <a:r>
              <a:rPr lang="zh-CN" altLang="en-US" dirty="0"/>
              <a:t>来推动整个</a:t>
            </a:r>
            <a:r>
              <a:rPr lang="zh-CN" altLang="en-US" b="1" dirty="0"/>
              <a:t>开发</a:t>
            </a:r>
            <a:r>
              <a:rPr lang="zh-CN" altLang="en-US" dirty="0"/>
              <a:t>的进行。 </a:t>
            </a:r>
            <a:r>
              <a:rPr lang="zh-CN" altLang="en-US" dirty="0" smtClean="0"/>
              <a:t>这</a:t>
            </a:r>
            <a:r>
              <a:rPr lang="zh-CN" altLang="en-US" dirty="0"/>
              <a:t>有助于编写简洁可用和高质量的代码，并加速</a:t>
            </a:r>
            <a:r>
              <a:rPr lang="zh-CN" altLang="en-US" b="1" dirty="0"/>
              <a:t>开发</a:t>
            </a:r>
            <a:r>
              <a:rPr lang="zh-CN" altLang="en-US" dirty="0"/>
              <a:t>过程。</a:t>
            </a:r>
            <a:endParaRPr lang="en-US" altLang="zh-CN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009651" y="4429740"/>
            <a:ext cx="55435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右图是我在编写本项目时创建的</a:t>
            </a:r>
            <a:r>
              <a:rPr lang="en-US" altLang="zh-CN" b="1" dirty="0" smtClean="0"/>
              <a:t>17</a:t>
            </a:r>
            <a:r>
              <a:rPr lang="zh-CN" altLang="en-US" b="1" dirty="0" smtClean="0"/>
              <a:t>个测试</a:t>
            </a:r>
            <a:r>
              <a:rPr lang="zh-CN" altLang="en-US" dirty="0" smtClean="0"/>
              <a:t>（分别是核心部分</a:t>
            </a:r>
            <a:r>
              <a:rPr lang="en-US" altLang="zh-CN" b="1" dirty="0" err="1" smtClean="0"/>
              <a:t>DatabaseCore</a:t>
            </a:r>
            <a:r>
              <a:rPr lang="zh-CN" altLang="en-US" dirty="0" smtClean="0"/>
              <a:t>和转译器部分</a:t>
            </a:r>
            <a:r>
              <a:rPr lang="en-US" altLang="zh-CN" b="1" dirty="0" smtClean="0"/>
              <a:t>Parser</a:t>
            </a:r>
            <a:r>
              <a:rPr lang="zh-CN" altLang="en-US" dirty="0" smtClean="0"/>
              <a:t>），在一开始，这些测试都是</a:t>
            </a:r>
            <a:r>
              <a:rPr lang="zh-CN" altLang="en-US" b="1" dirty="0" smtClean="0"/>
              <a:t>未通过</a:t>
            </a:r>
            <a:r>
              <a:rPr lang="zh-CN" altLang="en-US" dirty="0" smtClean="0"/>
              <a:t>的。随着后期的开发，这些测试一个个的被</a:t>
            </a:r>
            <a:r>
              <a:rPr lang="zh-CN" altLang="en-US" b="1" dirty="0" smtClean="0"/>
              <a:t>通过</a:t>
            </a:r>
            <a:r>
              <a:rPr lang="zh-CN" altLang="en-US" dirty="0" smtClean="0"/>
              <a:t>，</a:t>
            </a:r>
            <a:r>
              <a:rPr lang="en-US" altLang="zh-CN" dirty="0" smtClean="0"/>
              <a:t>Bug</a:t>
            </a:r>
            <a:r>
              <a:rPr lang="zh-CN" altLang="en-US" dirty="0" smtClean="0"/>
              <a:t>自然也是无处可逃了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64336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伪</a:t>
            </a:r>
            <a:r>
              <a:rPr lang="en-US" altLang="zh-CN" dirty="0" smtClean="0"/>
              <a:t>MVVM</a:t>
            </a:r>
            <a:r>
              <a:rPr lang="zh-CN" altLang="en-US" dirty="0" smtClean="0"/>
              <a:t>数据绑定、渲染与</a:t>
            </a:r>
            <a:r>
              <a:rPr lang="en-US" altLang="zh-CN" dirty="0" smtClean="0"/>
              <a:t>XAML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781050" y="1619250"/>
            <a:ext cx="61245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数据库开发的时候遇到的最大的问题便是</a:t>
            </a:r>
            <a:r>
              <a:rPr lang="en-US" altLang="zh-CN" b="1" dirty="0" smtClean="0"/>
              <a:t>UI</a:t>
            </a:r>
            <a:r>
              <a:rPr lang="zh-CN" altLang="en-US" b="1" dirty="0" smtClean="0"/>
              <a:t>渲染</a:t>
            </a:r>
            <a:r>
              <a:rPr lang="zh-CN" altLang="en-US" dirty="0" smtClean="0"/>
              <a:t>问题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数据应该怎么</a:t>
            </a:r>
            <a:r>
              <a:rPr lang="zh-CN" altLang="en-US" b="1" dirty="0" smtClean="0"/>
              <a:t>绑定</a:t>
            </a:r>
            <a:r>
              <a:rPr lang="zh-CN" altLang="en-US" dirty="0" smtClean="0"/>
              <a:t>、何时</a:t>
            </a:r>
            <a:r>
              <a:rPr lang="zh-CN" altLang="en-US" b="1" dirty="0" smtClean="0"/>
              <a:t>刷新</a:t>
            </a:r>
            <a:r>
              <a:rPr lang="zh-CN" altLang="en-US" dirty="0" smtClean="0"/>
              <a:t>、如何</a:t>
            </a:r>
            <a:r>
              <a:rPr lang="zh-CN" altLang="en-US" b="1" dirty="0" smtClean="0"/>
              <a:t>同步布局</a:t>
            </a:r>
            <a:r>
              <a:rPr lang="zh-CN" altLang="en-US" dirty="0" smtClean="0"/>
              <a:t>？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本系统基于</a:t>
            </a:r>
            <a:r>
              <a:rPr lang="en-US" altLang="zh-CN" b="1" dirty="0" smtClean="0"/>
              <a:t>Windows Presentation Framework</a:t>
            </a:r>
            <a:r>
              <a:rPr lang="zh-CN" altLang="en-US" dirty="0" smtClean="0"/>
              <a:t>设计，利用</a:t>
            </a:r>
            <a:r>
              <a:rPr lang="en-US" altLang="zh-CN" dirty="0" smtClean="0"/>
              <a:t>XAML</a:t>
            </a:r>
            <a:r>
              <a:rPr lang="zh-CN" altLang="en-US" dirty="0" smtClean="0"/>
              <a:t>的</a:t>
            </a:r>
            <a:r>
              <a:rPr lang="zh-CN" altLang="en-US" b="1" dirty="0" smtClean="0"/>
              <a:t>动态绑定</a:t>
            </a:r>
            <a:r>
              <a:rPr lang="zh-CN" altLang="en-US" dirty="0" smtClean="0"/>
              <a:t>技术，做到了数据层和界面层的</a:t>
            </a:r>
            <a:r>
              <a:rPr lang="zh-CN" altLang="en-US" b="1" dirty="0" smtClean="0"/>
              <a:t>分离</a:t>
            </a:r>
            <a:r>
              <a:rPr lang="zh-CN" altLang="en-US" dirty="0" smtClean="0"/>
              <a:t>。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781050" y="5130849"/>
            <a:ext cx="108299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为什么说是</a:t>
            </a:r>
            <a:r>
              <a:rPr lang="zh-CN" altLang="en-US" b="1" dirty="0" smtClean="0"/>
              <a:t>“伪”</a:t>
            </a:r>
            <a:r>
              <a:rPr lang="en-US" altLang="zh-CN" b="1" dirty="0" smtClean="0"/>
              <a:t>MVVM</a:t>
            </a:r>
            <a:r>
              <a:rPr lang="zh-CN" altLang="en-US" dirty="0" smtClean="0"/>
              <a:t>？我其实没有写完整的</a:t>
            </a:r>
            <a:r>
              <a:rPr lang="en-US" altLang="zh-CN" dirty="0" smtClean="0"/>
              <a:t>MVVM</a:t>
            </a:r>
            <a:r>
              <a:rPr lang="zh-CN" altLang="en-US" dirty="0" smtClean="0"/>
              <a:t>设计，而是通过在控制层操作</a:t>
            </a:r>
            <a:r>
              <a:rPr lang="en-US" altLang="zh-CN" b="1" dirty="0" smtClean="0"/>
              <a:t>x:Name</a:t>
            </a:r>
            <a:r>
              <a:rPr lang="zh-CN" altLang="en-US" dirty="0" smtClean="0"/>
              <a:t>绑定的元素，从而控制了界面的变化。这样的写法其实</a:t>
            </a:r>
            <a:r>
              <a:rPr lang="zh-CN" altLang="en-US" b="1" dirty="0" smtClean="0"/>
              <a:t>简化了</a:t>
            </a:r>
            <a:r>
              <a:rPr lang="zh-CN" altLang="en-US" dirty="0" smtClean="0"/>
              <a:t>大量的模板代码，减低了复杂度。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926" y="3564996"/>
            <a:ext cx="9182100" cy="1133475"/>
          </a:xfrm>
          <a:prstGeom prst="rect">
            <a:avLst/>
          </a:prstGeom>
        </p:spPr>
      </p:pic>
      <p:grpSp>
        <p:nvGrpSpPr>
          <p:cNvPr id="50" name="c934f9cb-a107-408b-b58f-1798fbee084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613720" y="1152737"/>
            <a:ext cx="3270214" cy="2178050"/>
            <a:chOff x="3200400" y="1512888"/>
            <a:chExt cx="5789613" cy="3856037"/>
          </a:xfrm>
        </p:grpSpPr>
        <p:sp>
          <p:nvSpPr>
            <p:cNvPr id="51" name="íšlïḍê">
              <a:extLst>
                <a:ext uri="{FF2B5EF4-FFF2-40B4-BE49-F238E27FC236}">
                  <a16:creationId xmlns:a16="http://schemas.microsoft.com/office/drawing/2014/main" id="{7800C0DA-ED1D-4896-8329-05DDF3C69282}"/>
                </a:ext>
              </a:extLst>
            </p:cNvPr>
            <p:cNvSpPr/>
            <p:nvPr/>
          </p:nvSpPr>
          <p:spPr bwMode="auto">
            <a:xfrm>
              <a:off x="3255963" y="1609725"/>
              <a:ext cx="5635625" cy="3759200"/>
            </a:xfrm>
            <a:custGeom>
              <a:avLst/>
              <a:gdLst>
                <a:gd name="T0" fmla="*/ 2368 w 4093"/>
                <a:gd name="T1" fmla="*/ 461 h 2734"/>
                <a:gd name="T2" fmla="*/ 1627 w 4093"/>
                <a:gd name="T3" fmla="*/ 277 h 2734"/>
                <a:gd name="T4" fmla="*/ 906 w 4093"/>
                <a:gd name="T5" fmla="*/ 36 h 2734"/>
                <a:gd name="T6" fmla="*/ 426 w 4093"/>
                <a:gd name="T7" fmla="*/ 87 h 2734"/>
                <a:gd name="T8" fmla="*/ 238 w 4093"/>
                <a:gd name="T9" fmla="*/ 450 h 2734"/>
                <a:gd name="T10" fmla="*/ 257 w 4093"/>
                <a:gd name="T11" fmla="*/ 752 h 2734"/>
                <a:gd name="T12" fmla="*/ 382 w 4093"/>
                <a:gd name="T13" fmla="*/ 936 h 2734"/>
                <a:gd name="T14" fmla="*/ 276 w 4093"/>
                <a:gd name="T15" fmla="*/ 1638 h 2734"/>
                <a:gd name="T16" fmla="*/ 77 w 4093"/>
                <a:gd name="T17" fmla="*/ 1941 h 2734"/>
                <a:gd name="T18" fmla="*/ 46 w 4093"/>
                <a:gd name="T19" fmla="*/ 2279 h 2734"/>
                <a:gd name="T20" fmla="*/ 318 w 4093"/>
                <a:gd name="T21" fmla="*/ 2525 h 2734"/>
                <a:gd name="T22" fmla="*/ 1112 w 4093"/>
                <a:gd name="T23" fmla="*/ 2693 h 2734"/>
                <a:gd name="T24" fmla="*/ 2939 w 4093"/>
                <a:gd name="T25" fmla="*/ 2698 h 2734"/>
                <a:gd name="T26" fmla="*/ 3612 w 4093"/>
                <a:gd name="T27" fmla="*/ 2650 h 2734"/>
                <a:gd name="T28" fmla="*/ 3952 w 4093"/>
                <a:gd name="T29" fmla="*/ 2526 h 2734"/>
                <a:gd name="T30" fmla="*/ 4017 w 4093"/>
                <a:gd name="T31" fmla="*/ 2154 h 2734"/>
                <a:gd name="T32" fmla="*/ 3448 w 4093"/>
                <a:gd name="T33" fmla="*/ 1695 h 2734"/>
                <a:gd name="T34" fmla="*/ 3521 w 4093"/>
                <a:gd name="T35" fmla="*/ 1339 h 2734"/>
                <a:gd name="T36" fmla="*/ 3944 w 4093"/>
                <a:gd name="T37" fmla="*/ 636 h 2734"/>
                <a:gd name="T38" fmla="*/ 3639 w 4093"/>
                <a:gd name="T39" fmla="*/ 184 h 2734"/>
                <a:gd name="T40" fmla="*/ 3015 w 4093"/>
                <a:gd name="T41" fmla="*/ 255 h 2734"/>
                <a:gd name="T42" fmla="*/ 2368 w 4093"/>
                <a:gd name="T43" fmla="*/ 461 h 2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93" h="2734">
                  <a:moveTo>
                    <a:pt x="2368" y="461"/>
                  </a:moveTo>
                  <a:cubicBezTo>
                    <a:pt x="2109" y="452"/>
                    <a:pt x="1863" y="368"/>
                    <a:pt x="1627" y="277"/>
                  </a:cubicBezTo>
                  <a:cubicBezTo>
                    <a:pt x="1392" y="185"/>
                    <a:pt x="1158" y="84"/>
                    <a:pt x="906" y="36"/>
                  </a:cubicBezTo>
                  <a:cubicBezTo>
                    <a:pt x="743" y="5"/>
                    <a:pt x="557" y="0"/>
                    <a:pt x="426" y="87"/>
                  </a:cubicBezTo>
                  <a:cubicBezTo>
                    <a:pt x="300" y="171"/>
                    <a:pt x="260" y="316"/>
                    <a:pt x="238" y="450"/>
                  </a:cubicBezTo>
                  <a:cubicBezTo>
                    <a:pt x="221" y="551"/>
                    <a:pt x="212" y="658"/>
                    <a:pt x="257" y="752"/>
                  </a:cubicBezTo>
                  <a:cubicBezTo>
                    <a:pt x="288" y="818"/>
                    <a:pt x="344" y="873"/>
                    <a:pt x="382" y="936"/>
                  </a:cubicBezTo>
                  <a:cubicBezTo>
                    <a:pt x="516" y="1155"/>
                    <a:pt x="422" y="1425"/>
                    <a:pt x="276" y="1638"/>
                  </a:cubicBezTo>
                  <a:cubicBezTo>
                    <a:pt x="208" y="1739"/>
                    <a:pt x="129" y="1834"/>
                    <a:pt x="77" y="1941"/>
                  </a:cubicBezTo>
                  <a:cubicBezTo>
                    <a:pt x="24" y="2048"/>
                    <a:pt x="0" y="2170"/>
                    <a:pt x="46" y="2279"/>
                  </a:cubicBezTo>
                  <a:cubicBezTo>
                    <a:pt x="92" y="2387"/>
                    <a:pt x="200" y="2468"/>
                    <a:pt x="318" y="2525"/>
                  </a:cubicBezTo>
                  <a:cubicBezTo>
                    <a:pt x="556" y="2641"/>
                    <a:pt x="838" y="2674"/>
                    <a:pt x="1112" y="2693"/>
                  </a:cubicBezTo>
                  <a:cubicBezTo>
                    <a:pt x="1719" y="2734"/>
                    <a:pt x="2330" y="2716"/>
                    <a:pt x="2939" y="2698"/>
                  </a:cubicBezTo>
                  <a:cubicBezTo>
                    <a:pt x="3164" y="2692"/>
                    <a:pt x="3391" y="2685"/>
                    <a:pt x="3612" y="2650"/>
                  </a:cubicBezTo>
                  <a:cubicBezTo>
                    <a:pt x="3735" y="2631"/>
                    <a:pt x="3862" y="2600"/>
                    <a:pt x="3952" y="2526"/>
                  </a:cubicBezTo>
                  <a:cubicBezTo>
                    <a:pt x="4065" y="2432"/>
                    <a:pt x="4093" y="2272"/>
                    <a:pt x="4017" y="2154"/>
                  </a:cubicBezTo>
                  <a:cubicBezTo>
                    <a:pt x="3890" y="1956"/>
                    <a:pt x="3537" y="1907"/>
                    <a:pt x="3448" y="1695"/>
                  </a:cubicBezTo>
                  <a:cubicBezTo>
                    <a:pt x="3399" y="1578"/>
                    <a:pt x="3449" y="1447"/>
                    <a:pt x="3521" y="1339"/>
                  </a:cubicBezTo>
                  <a:cubicBezTo>
                    <a:pt x="3674" y="1106"/>
                    <a:pt x="3930" y="902"/>
                    <a:pt x="3944" y="636"/>
                  </a:cubicBezTo>
                  <a:cubicBezTo>
                    <a:pt x="3953" y="454"/>
                    <a:pt x="3830" y="271"/>
                    <a:pt x="3639" y="184"/>
                  </a:cubicBezTo>
                  <a:cubicBezTo>
                    <a:pt x="3439" y="94"/>
                    <a:pt x="3162" y="105"/>
                    <a:pt x="3015" y="255"/>
                  </a:cubicBezTo>
                  <a:cubicBezTo>
                    <a:pt x="2863" y="409"/>
                    <a:pt x="2597" y="469"/>
                    <a:pt x="2368" y="461"/>
                  </a:cubicBezTo>
                </a:path>
              </a:pathLst>
            </a:cu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S1iḋê">
              <a:extLst>
                <a:ext uri="{FF2B5EF4-FFF2-40B4-BE49-F238E27FC236}">
                  <a16:creationId xmlns:a16="http://schemas.microsoft.com/office/drawing/2014/main" id="{54BC9C8F-3F34-41BD-B93A-D80006C1EA98}"/>
                </a:ext>
              </a:extLst>
            </p:cNvPr>
            <p:cNvSpPr/>
            <p:nvPr/>
          </p:nvSpPr>
          <p:spPr bwMode="auto">
            <a:xfrm>
              <a:off x="3932238" y="2214563"/>
              <a:ext cx="695325" cy="652463"/>
            </a:xfrm>
            <a:custGeom>
              <a:avLst/>
              <a:gdLst>
                <a:gd name="T0" fmla="*/ 498 w 505"/>
                <a:gd name="T1" fmla="*/ 458 h 474"/>
                <a:gd name="T2" fmla="*/ 499 w 505"/>
                <a:gd name="T3" fmla="*/ 468 h 474"/>
                <a:gd name="T4" fmla="*/ 494 w 505"/>
                <a:gd name="T5" fmla="*/ 468 h 474"/>
                <a:gd name="T6" fmla="*/ 497 w 505"/>
                <a:gd name="T7" fmla="*/ 472 h 474"/>
                <a:gd name="T8" fmla="*/ 498 w 505"/>
                <a:gd name="T9" fmla="*/ 473 h 474"/>
                <a:gd name="T10" fmla="*/ 498 w 505"/>
                <a:gd name="T11" fmla="*/ 474 h 474"/>
                <a:gd name="T12" fmla="*/ 505 w 505"/>
                <a:gd name="T13" fmla="*/ 470 h 474"/>
                <a:gd name="T14" fmla="*/ 498 w 505"/>
                <a:gd name="T15" fmla="*/ 458 h 474"/>
                <a:gd name="T16" fmla="*/ 377 w 505"/>
                <a:gd name="T17" fmla="*/ 311 h 474"/>
                <a:gd name="T18" fmla="*/ 366 w 505"/>
                <a:gd name="T19" fmla="*/ 312 h 474"/>
                <a:gd name="T20" fmla="*/ 380 w 505"/>
                <a:gd name="T21" fmla="*/ 325 h 474"/>
                <a:gd name="T22" fmla="*/ 390 w 505"/>
                <a:gd name="T23" fmla="*/ 329 h 474"/>
                <a:gd name="T24" fmla="*/ 390 w 505"/>
                <a:gd name="T25" fmla="*/ 329 h 474"/>
                <a:gd name="T26" fmla="*/ 390 w 505"/>
                <a:gd name="T27" fmla="*/ 329 h 474"/>
                <a:gd name="T28" fmla="*/ 387 w 505"/>
                <a:gd name="T29" fmla="*/ 332 h 474"/>
                <a:gd name="T30" fmla="*/ 423 w 505"/>
                <a:gd name="T31" fmla="*/ 370 h 474"/>
                <a:gd name="T32" fmla="*/ 478 w 505"/>
                <a:gd name="T33" fmla="*/ 443 h 474"/>
                <a:gd name="T34" fmla="*/ 490 w 505"/>
                <a:gd name="T35" fmla="*/ 461 h 474"/>
                <a:gd name="T36" fmla="*/ 490 w 505"/>
                <a:gd name="T37" fmla="*/ 459 h 474"/>
                <a:gd name="T38" fmla="*/ 487 w 505"/>
                <a:gd name="T39" fmla="*/ 442 h 474"/>
                <a:gd name="T40" fmla="*/ 439 w 505"/>
                <a:gd name="T41" fmla="*/ 377 h 474"/>
                <a:gd name="T42" fmla="*/ 436 w 505"/>
                <a:gd name="T43" fmla="*/ 381 h 474"/>
                <a:gd name="T44" fmla="*/ 429 w 505"/>
                <a:gd name="T45" fmla="*/ 365 h 474"/>
                <a:gd name="T46" fmla="*/ 377 w 505"/>
                <a:gd name="T47" fmla="*/ 311 h 474"/>
                <a:gd name="T48" fmla="*/ 7 w 505"/>
                <a:gd name="T49" fmla="*/ 0 h 474"/>
                <a:gd name="T50" fmla="*/ 6 w 505"/>
                <a:gd name="T51" fmla="*/ 1 h 474"/>
                <a:gd name="T52" fmla="*/ 6 w 505"/>
                <a:gd name="T53" fmla="*/ 3 h 474"/>
                <a:gd name="T54" fmla="*/ 6 w 505"/>
                <a:gd name="T55" fmla="*/ 3 h 474"/>
                <a:gd name="T56" fmla="*/ 6 w 505"/>
                <a:gd name="T57" fmla="*/ 3 h 474"/>
                <a:gd name="T58" fmla="*/ 3 w 505"/>
                <a:gd name="T59" fmla="*/ 2 h 474"/>
                <a:gd name="T60" fmla="*/ 0 w 505"/>
                <a:gd name="T61" fmla="*/ 3 h 474"/>
                <a:gd name="T62" fmla="*/ 43 w 505"/>
                <a:gd name="T63" fmla="*/ 82 h 474"/>
                <a:gd name="T64" fmla="*/ 59 w 505"/>
                <a:gd name="T65" fmla="*/ 97 h 474"/>
                <a:gd name="T66" fmla="*/ 59 w 505"/>
                <a:gd name="T67" fmla="*/ 97 h 474"/>
                <a:gd name="T68" fmla="*/ 59 w 505"/>
                <a:gd name="T69" fmla="*/ 97 h 474"/>
                <a:gd name="T70" fmla="*/ 54 w 505"/>
                <a:gd name="T71" fmla="*/ 99 h 474"/>
                <a:gd name="T72" fmla="*/ 191 w 505"/>
                <a:gd name="T73" fmla="*/ 211 h 474"/>
                <a:gd name="T74" fmla="*/ 211 w 505"/>
                <a:gd name="T75" fmla="*/ 216 h 474"/>
                <a:gd name="T76" fmla="*/ 211 w 505"/>
                <a:gd name="T77" fmla="*/ 216 h 474"/>
                <a:gd name="T78" fmla="*/ 211 w 505"/>
                <a:gd name="T79" fmla="*/ 216 h 474"/>
                <a:gd name="T80" fmla="*/ 209 w 505"/>
                <a:gd name="T81" fmla="*/ 219 h 474"/>
                <a:gd name="T82" fmla="*/ 225 w 505"/>
                <a:gd name="T83" fmla="*/ 225 h 474"/>
                <a:gd name="T84" fmla="*/ 225 w 505"/>
                <a:gd name="T85" fmla="*/ 225 h 474"/>
                <a:gd name="T86" fmla="*/ 302 w 505"/>
                <a:gd name="T87" fmla="*/ 262 h 474"/>
                <a:gd name="T88" fmla="*/ 303 w 505"/>
                <a:gd name="T89" fmla="*/ 254 h 474"/>
                <a:gd name="T90" fmla="*/ 252 w 505"/>
                <a:gd name="T91" fmla="*/ 227 h 474"/>
                <a:gd name="T92" fmla="*/ 249 w 505"/>
                <a:gd name="T93" fmla="*/ 230 h 474"/>
                <a:gd name="T94" fmla="*/ 248 w 505"/>
                <a:gd name="T95" fmla="*/ 225 h 474"/>
                <a:gd name="T96" fmla="*/ 227 w 505"/>
                <a:gd name="T97" fmla="*/ 217 h 474"/>
                <a:gd name="T98" fmla="*/ 227 w 505"/>
                <a:gd name="T99" fmla="*/ 217 h 474"/>
                <a:gd name="T100" fmla="*/ 87 w 505"/>
                <a:gd name="T101" fmla="*/ 127 h 474"/>
                <a:gd name="T102" fmla="*/ 85 w 505"/>
                <a:gd name="T103" fmla="*/ 131 h 474"/>
                <a:gd name="T104" fmla="*/ 71 w 505"/>
                <a:gd name="T105" fmla="*/ 109 h 474"/>
                <a:gd name="T106" fmla="*/ 58 w 505"/>
                <a:gd name="T107" fmla="*/ 90 h 474"/>
                <a:gd name="T108" fmla="*/ 58 w 505"/>
                <a:gd name="T109" fmla="*/ 90 h 474"/>
                <a:gd name="T110" fmla="*/ 7 w 505"/>
                <a:gd name="T111" fmla="*/ 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5" h="474">
                  <a:moveTo>
                    <a:pt x="498" y="458"/>
                  </a:moveTo>
                  <a:cubicBezTo>
                    <a:pt x="499" y="464"/>
                    <a:pt x="499" y="468"/>
                    <a:pt x="499" y="468"/>
                  </a:cubicBezTo>
                  <a:cubicBezTo>
                    <a:pt x="494" y="468"/>
                    <a:pt x="494" y="468"/>
                    <a:pt x="494" y="468"/>
                  </a:cubicBezTo>
                  <a:cubicBezTo>
                    <a:pt x="495" y="470"/>
                    <a:pt x="496" y="471"/>
                    <a:pt x="497" y="472"/>
                  </a:cubicBezTo>
                  <a:cubicBezTo>
                    <a:pt x="497" y="472"/>
                    <a:pt x="497" y="473"/>
                    <a:pt x="498" y="473"/>
                  </a:cubicBezTo>
                  <a:cubicBezTo>
                    <a:pt x="498" y="474"/>
                    <a:pt x="498" y="474"/>
                    <a:pt x="498" y="474"/>
                  </a:cubicBezTo>
                  <a:cubicBezTo>
                    <a:pt x="505" y="470"/>
                    <a:pt x="505" y="470"/>
                    <a:pt x="505" y="470"/>
                  </a:cubicBezTo>
                  <a:cubicBezTo>
                    <a:pt x="505" y="470"/>
                    <a:pt x="502" y="466"/>
                    <a:pt x="498" y="458"/>
                  </a:cubicBezTo>
                  <a:moveTo>
                    <a:pt x="377" y="311"/>
                  </a:moveTo>
                  <a:cubicBezTo>
                    <a:pt x="373" y="311"/>
                    <a:pt x="370" y="312"/>
                    <a:pt x="366" y="312"/>
                  </a:cubicBezTo>
                  <a:cubicBezTo>
                    <a:pt x="371" y="317"/>
                    <a:pt x="376" y="321"/>
                    <a:pt x="380" y="325"/>
                  </a:cubicBezTo>
                  <a:cubicBezTo>
                    <a:pt x="386" y="328"/>
                    <a:pt x="390" y="329"/>
                    <a:pt x="390" y="329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89" y="330"/>
                    <a:pt x="387" y="332"/>
                  </a:cubicBezTo>
                  <a:cubicBezTo>
                    <a:pt x="400" y="344"/>
                    <a:pt x="412" y="357"/>
                    <a:pt x="423" y="370"/>
                  </a:cubicBezTo>
                  <a:cubicBezTo>
                    <a:pt x="447" y="398"/>
                    <a:pt x="465" y="424"/>
                    <a:pt x="478" y="443"/>
                  </a:cubicBezTo>
                  <a:cubicBezTo>
                    <a:pt x="483" y="450"/>
                    <a:pt x="487" y="456"/>
                    <a:pt x="490" y="461"/>
                  </a:cubicBezTo>
                  <a:cubicBezTo>
                    <a:pt x="490" y="460"/>
                    <a:pt x="490" y="460"/>
                    <a:pt x="490" y="459"/>
                  </a:cubicBezTo>
                  <a:cubicBezTo>
                    <a:pt x="489" y="454"/>
                    <a:pt x="489" y="449"/>
                    <a:pt x="487" y="442"/>
                  </a:cubicBezTo>
                  <a:cubicBezTo>
                    <a:pt x="476" y="425"/>
                    <a:pt x="460" y="402"/>
                    <a:pt x="439" y="377"/>
                  </a:cubicBezTo>
                  <a:cubicBezTo>
                    <a:pt x="437" y="380"/>
                    <a:pt x="436" y="381"/>
                    <a:pt x="436" y="381"/>
                  </a:cubicBezTo>
                  <a:cubicBezTo>
                    <a:pt x="436" y="381"/>
                    <a:pt x="433" y="375"/>
                    <a:pt x="429" y="365"/>
                  </a:cubicBezTo>
                  <a:cubicBezTo>
                    <a:pt x="413" y="347"/>
                    <a:pt x="396" y="329"/>
                    <a:pt x="377" y="311"/>
                  </a:cubicBezTo>
                  <a:moveTo>
                    <a:pt x="7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5" y="2"/>
                    <a:pt x="3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2" y="30"/>
                    <a:pt x="26" y="57"/>
                    <a:pt x="43" y="82"/>
                  </a:cubicBezTo>
                  <a:cubicBezTo>
                    <a:pt x="52" y="91"/>
                    <a:pt x="59" y="97"/>
                    <a:pt x="59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97"/>
                    <a:pt x="57" y="97"/>
                    <a:pt x="54" y="99"/>
                  </a:cubicBezTo>
                  <a:cubicBezTo>
                    <a:pt x="89" y="148"/>
                    <a:pt x="136" y="187"/>
                    <a:pt x="191" y="211"/>
                  </a:cubicBezTo>
                  <a:cubicBezTo>
                    <a:pt x="203" y="214"/>
                    <a:pt x="211" y="216"/>
                    <a:pt x="211" y="216"/>
                  </a:cubicBezTo>
                  <a:cubicBezTo>
                    <a:pt x="211" y="216"/>
                    <a:pt x="211" y="216"/>
                    <a:pt x="211" y="216"/>
                  </a:cubicBezTo>
                  <a:cubicBezTo>
                    <a:pt x="211" y="216"/>
                    <a:pt x="211" y="216"/>
                    <a:pt x="211" y="216"/>
                  </a:cubicBezTo>
                  <a:cubicBezTo>
                    <a:pt x="211" y="216"/>
                    <a:pt x="210" y="217"/>
                    <a:pt x="209" y="219"/>
                  </a:cubicBezTo>
                  <a:cubicBezTo>
                    <a:pt x="214" y="221"/>
                    <a:pt x="219" y="223"/>
                    <a:pt x="225" y="225"/>
                  </a:cubicBezTo>
                  <a:cubicBezTo>
                    <a:pt x="225" y="225"/>
                    <a:pt x="225" y="225"/>
                    <a:pt x="225" y="225"/>
                  </a:cubicBezTo>
                  <a:cubicBezTo>
                    <a:pt x="252" y="234"/>
                    <a:pt x="278" y="247"/>
                    <a:pt x="302" y="262"/>
                  </a:cubicBezTo>
                  <a:cubicBezTo>
                    <a:pt x="302" y="260"/>
                    <a:pt x="302" y="257"/>
                    <a:pt x="303" y="254"/>
                  </a:cubicBezTo>
                  <a:cubicBezTo>
                    <a:pt x="287" y="244"/>
                    <a:pt x="270" y="235"/>
                    <a:pt x="252" y="227"/>
                  </a:cubicBezTo>
                  <a:cubicBezTo>
                    <a:pt x="250" y="229"/>
                    <a:pt x="249" y="230"/>
                    <a:pt x="249" y="230"/>
                  </a:cubicBezTo>
                  <a:cubicBezTo>
                    <a:pt x="249" y="230"/>
                    <a:pt x="249" y="228"/>
                    <a:pt x="248" y="225"/>
                  </a:cubicBezTo>
                  <a:cubicBezTo>
                    <a:pt x="241" y="222"/>
                    <a:pt x="234" y="220"/>
                    <a:pt x="227" y="217"/>
                  </a:cubicBezTo>
                  <a:cubicBezTo>
                    <a:pt x="227" y="217"/>
                    <a:pt x="227" y="217"/>
                    <a:pt x="227" y="217"/>
                  </a:cubicBezTo>
                  <a:cubicBezTo>
                    <a:pt x="173" y="199"/>
                    <a:pt x="125" y="168"/>
                    <a:pt x="87" y="127"/>
                  </a:cubicBezTo>
                  <a:cubicBezTo>
                    <a:pt x="86" y="130"/>
                    <a:pt x="85" y="131"/>
                    <a:pt x="85" y="131"/>
                  </a:cubicBezTo>
                  <a:cubicBezTo>
                    <a:pt x="85" y="131"/>
                    <a:pt x="79" y="122"/>
                    <a:pt x="71" y="109"/>
                  </a:cubicBezTo>
                  <a:cubicBezTo>
                    <a:pt x="67" y="103"/>
                    <a:pt x="62" y="97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38" y="62"/>
                    <a:pt x="21" y="32"/>
                    <a:pt x="7" y="0"/>
                  </a:cubicBezTo>
                </a:path>
              </a:pathLst>
            </a:custGeom>
            <a:solidFill>
              <a:srgbClr val="5D5A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ş1ïḍê">
              <a:extLst>
                <a:ext uri="{FF2B5EF4-FFF2-40B4-BE49-F238E27FC236}">
                  <a16:creationId xmlns:a16="http://schemas.microsoft.com/office/drawing/2014/main" id="{3129B390-8B55-401A-AD9B-F92BD3BB702B}"/>
                </a:ext>
              </a:extLst>
            </p:cNvPr>
            <p:cNvSpPr/>
            <p:nvPr/>
          </p:nvSpPr>
          <p:spPr bwMode="auto">
            <a:xfrm>
              <a:off x="3773488" y="2054225"/>
              <a:ext cx="168275" cy="165100"/>
            </a:xfrm>
            <a:custGeom>
              <a:avLst/>
              <a:gdLst>
                <a:gd name="T0" fmla="*/ 48 w 122"/>
                <a:gd name="T1" fmla="*/ 0 h 120"/>
                <a:gd name="T2" fmla="*/ 14 w 122"/>
                <a:gd name="T3" fmla="*/ 14 h 120"/>
                <a:gd name="T4" fmla="*/ 0 w 122"/>
                <a:gd name="T5" fmla="*/ 48 h 120"/>
                <a:gd name="T6" fmla="*/ 14 w 122"/>
                <a:gd name="T7" fmla="*/ 81 h 120"/>
                <a:gd name="T8" fmla="*/ 15 w 122"/>
                <a:gd name="T9" fmla="*/ 83 h 120"/>
                <a:gd name="T10" fmla="*/ 122 w 122"/>
                <a:gd name="T11" fmla="*/ 120 h 120"/>
                <a:gd name="T12" fmla="*/ 122 w 122"/>
                <a:gd name="T13" fmla="*/ 118 h 120"/>
                <a:gd name="T14" fmla="*/ 82 w 122"/>
                <a:gd name="T15" fmla="*/ 14 h 120"/>
                <a:gd name="T16" fmla="*/ 48 w 122"/>
                <a:gd name="T1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120">
                  <a:moveTo>
                    <a:pt x="48" y="0"/>
                  </a:moveTo>
                  <a:cubicBezTo>
                    <a:pt x="36" y="0"/>
                    <a:pt x="24" y="5"/>
                    <a:pt x="14" y="14"/>
                  </a:cubicBezTo>
                  <a:cubicBezTo>
                    <a:pt x="5" y="23"/>
                    <a:pt x="0" y="36"/>
                    <a:pt x="0" y="48"/>
                  </a:cubicBezTo>
                  <a:cubicBezTo>
                    <a:pt x="0" y="60"/>
                    <a:pt x="5" y="72"/>
                    <a:pt x="14" y="81"/>
                  </a:cubicBezTo>
                  <a:cubicBezTo>
                    <a:pt x="15" y="82"/>
                    <a:pt x="15" y="82"/>
                    <a:pt x="15" y="83"/>
                  </a:cubicBezTo>
                  <a:cubicBezTo>
                    <a:pt x="34" y="101"/>
                    <a:pt x="122" y="120"/>
                    <a:pt x="122" y="120"/>
                  </a:cubicBezTo>
                  <a:cubicBezTo>
                    <a:pt x="122" y="120"/>
                    <a:pt x="122" y="119"/>
                    <a:pt x="122" y="118"/>
                  </a:cubicBezTo>
                  <a:cubicBezTo>
                    <a:pt x="118" y="104"/>
                    <a:pt x="99" y="31"/>
                    <a:pt x="82" y="14"/>
                  </a:cubicBezTo>
                  <a:cubicBezTo>
                    <a:pt x="72" y="5"/>
                    <a:pt x="60" y="0"/>
                    <a:pt x="48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ṣḻïdê">
              <a:extLst>
                <a:ext uri="{FF2B5EF4-FFF2-40B4-BE49-F238E27FC236}">
                  <a16:creationId xmlns:a16="http://schemas.microsoft.com/office/drawing/2014/main" id="{664619A5-A1B9-4B82-81F4-3F06795640AB}"/>
                </a:ext>
              </a:extLst>
            </p:cNvPr>
            <p:cNvSpPr/>
            <p:nvPr/>
          </p:nvSpPr>
          <p:spPr bwMode="auto">
            <a:xfrm>
              <a:off x="3810000" y="2255838"/>
              <a:ext cx="204788" cy="130175"/>
            </a:xfrm>
            <a:custGeom>
              <a:avLst/>
              <a:gdLst>
                <a:gd name="T0" fmla="*/ 47 w 148"/>
                <a:gd name="T1" fmla="*/ 0 h 95"/>
                <a:gd name="T2" fmla="*/ 1 w 148"/>
                <a:gd name="T3" fmla="*/ 39 h 95"/>
                <a:gd name="T4" fmla="*/ 0 w 148"/>
                <a:gd name="T5" fmla="*/ 48 h 95"/>
                <a:gd name="T6" fmla="*/ 38 w 148"/>
                <a:gd name="T7" fmla="*/ 95 h 95"/>
                <a:gd name="T8" fmla="*/ 45 w 148"/>
                <a:gd name="T9" fmla="*/ 95 h 95"/>
                <a:gd name="T10" fmla="*/ 148 w 148"/>
                <a:gd name="T11" fmla="*/ 68 h 95"/>
                <a:gd name="T12" fmla="*/ 132 w 148"/>
                <a:gd name="T13" fmla="*/ 53 h 95"/>
                <a:gd name="T14" fmla="*/ 57 w 148"/>
                <a:gd name="T15" fmla="*/ 1 h 95"/>
                <a:gd name="T16" fmla="*/ 47 w 148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95">
                  <a:moveTo>
                    <a:pt x="47" y="0"/>
                  </a:moveTo>
                  <a:cubicBezTo>
                    <a:pt x="25" y="0"/>
                    <a:pt x="5" y="16"/>
                    <a:pt x="1" y="39"/>
                  </a:cubicBezTo>
                  <a:cubicBezTo>
                    <a:pt x="0" y="42"/>
                    <a:pt x="0" y="45"/>
                    <a:pt x="0" y="48"/>
                  </a:cubicBezTo>
                  <a:cubicBezTo>
                    <a:pt x="0" y="70"/>
                    <a:pt x="15" y="90"/>
                    <a:pt x="38" y="95"/>
                  </a:cubicBezTo>
                  <a:cubicBezTo>
                    <a:pt x="40" y="95"/>
                    <a:pt x="42" y="95"/>
                    <a:pt x="45" y="95"/>
                  </a:cubicBezTo>
                  <a:cubicBezTo>
                    <a:pt x="76" y="95"/>
                    <a:pt x="148" y="68"/>
                    <a:pt x="148" y="68"/>
                  </a:cubicBezTo>
                  <a:cubicBezTo>
                    <a:pt x="148" y="68"/>
                    <a:pt x="141" y="62"/>
                    <a:pt x="132" y="53"/>
                  </a:cubicBezTo>
                  <a:cubicBezTo>
                    <a:pt x="110" y="34"/>
                    <a:pt x="74" y="5"/>
                    <a:pt x="57" y="1"/>
                  </a:cubicBezTo>
                  <a:cubicBezTo>
                    <a:pt x="54" y="1"/>
                    <a:pt x="50" y="0"/>
                    <a:pt x="47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îSľiḓe">
              <a:extLst>
                <a:ext uri="{FF2B5EF4-FFF2-40B4-BE49-F238E27FC236}">
                  <a16:creationId xmlns:a16="http://schemas.microsoft.com/office/drawing/2014/main" id="{6AA6EDC4-900A-4457-A196-F8DC8131451D}"/>
                </a:ext>
              </a:extLst>
            </p:cNvPr>
            <p:cNvSpPr/>
            <p:nvPr/>
          </p:nvSpPr>
          <p:spPr bwMode="auto">
            <a:xfrm>
              <a:off x="4025900" y="2492375"/>
              <a:ext cx="196850" cy="131763"/>
            </a:xfrm>
            <a:custGeom>
              <a:avLst/>
              <a:gdLst>
                <a:gd name="T0" fmla="*/ 50 w 144"/>
                <a:gd name="T1" fmla="*/ 0 h 95"/>
                <a:gd name="T2" fmla="*/ 32 w 144"/>
                <a:gd name="T3" fmla="*/ 2 h 95"/>
                <a:gd name="T4" fmla="*/ 0 w 144"/>
                <a:gd name="T5" fmla="*/ 47 h 95"/>
                <a:gd name="T6" fmla="*/ 3 w 144"/>
                <a:gd name="T7" fmla="*/ 63 h 95"/>
                <a:gd name="T8" fmla="*/ 48 w 144"/>
                <a:gd name="T9" fmla="*/ 95 h 95"/>
                <a:gd name="T10" fmla="*/ 63 w 144"/>
                <a:gd name="T11" fmla="*/ 92 h 95"/>
                <a:gd name="T12" fmla="*/ 144 w 144"/>
                <a:gd name="T13" fmla="*/ 14 h 95"/>
                <a:gd name="T14" fmla="*/ 124 w 144"/>
                <a:gd name="T15" fmla="*/ 9 h 95"/>
                <a:gd name="T16" fmla="*/ 50 w 144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95">
                  <a:moveTo>
                    <a:pt x="50" y="0"/>
                  </a:moveTo>
                  <a:cubicBezTo>
                    <a:pt x="43" y="0"/>
                    <a:pt x="36" y="1"/>
                    <a:pt x="32" y="2"/>
                  </a:cubicBezTo>
                  <a:cubicBezTo>
                    <a:pt x="12" y="9"/>
                    <a:pt x="0" y="28"/>
                    <a:pt x="0" y="47"/>
                  </a:cubicBezTo>
                  <a:cubicBezTo>
                    <a:pt x="0" y="52"/>
                    <a:pt x="1" y="58"/>
                    <a:pt x="3" y="63"/>
                  </a:cubicBezTo>
                  <a:cubicBezTo>
                    <a:pt x="9" y="83"/>
                    <a:pt x="28" y="95"/>
                    <a:pt x="48" y="95"/>
                  </a:cubicBezTo>
                  <a:cubicBezTo>
                    <a:pt x="53" y="95"/>
                    <a:pt x="58" y="94"/>
                    <a:pt x="63" y="92"/>
                  </a:cubicBezTo>
                  <a:cubicBezTo>
                    <a:pt x="88" y="84"/>
                    <a:pt x="144" y="14"/>
                    <a:pt x="144" y="14"/>
                  </a:cubicBezTo>
                  <a:cubicBezTo>
                    <a:pt x="144" y="14"/>
                    <a:pt x="136" y="12"/>
                    <a:pt x="124" y="9"/>
                  </a:cubicBezTo>
                  <a:cubicBezTo>
                    <a:pt x="103" y="5"/>
                    <a:pt x="72" y="0"/>
                    <a:pt x="50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şḷiďé">
              <a:extLst>
                <a:ext uri="{FF2B5EF4-FFF2-40B4-BE49-F238E27FC236}">
                  <a16:creationId xmlns:a16="http://schemas.microsoft.com/office/drawing/2014/main" id="{1CD84403-E679-44DC-873B-EE866E0F73DE}"/>
                </a:ext>
              </a:extLst>
            </p:cNvPr>
            <p:cNvSpPr/>
            <p:nvPr/>
          </p:nvSpPr>
          <p:spPr bwMode="auto">
            <a:xfrm>
              <a:off x="4264025" y="2625725"/>
              <a:ext cx="206375" cy="130175"/>
            </a:xfrm>
            <a:custGeom>
              <a:avLst/>
              <a:gdLst>
                <a:gd name="T0" fmla="*/ 45 w 149"/>
                <a:gd name="T1" fmla="*/ 0 h 95"/>
                <a:gd name="T2" fmla="*/ 40 w 149"/>
                <a:gd name="T3" fmla="*/ 1 h 95"/>
                <a:gd name="T4" fmla="*/ 0 w 149"/>
                <a:gd name="T5" fmla="*/ 48 h 95"/>
                <a:gd name="T6" fmla="*/ 0 w 149"/>
                <a:gd name="T7" fmla="*/ 56 h 95"/>
                <a:gd name="T8" fmla="*/ 47 w 149"/>
                <a:gd name="T9" fmla="*/ 95 h 95"/>
                <a:gd name="T10" fmla="*/ 55 w 149"/>
                <a:gd name="T11" fmla="*/ 95 h 95"/>
                <a:gd name="T12" fmla="*/ 149 w 149"/>
                <a:gd name="T13" fmla="*/ 31 h 95"/>
                <a:gd name="T14" fmla="*/ 139 w 149"/>
                <a:gd name="T15" fmla="*/ 27 h 95"/>
                <a:gd name="T16" fmla="*/ 107 w 149"/>
                <a:gd name="T17" fmla="*/ 16 h 95"/>
                <a:gd name="T18" fmla="*/ 99 w 149"/>
                <a:gd name="T19" fmla="*/ 15 h 95"/>
                <a:gd name="T20" fmla="*/ 98 w 149"/>
                <a:gd name="T21" fmla="*/ 14 h 95"/>
                <a:gd name="T22" fmla="*/ 94 w 149"/>
                <a:gd name="T23" fmla="*/ 13 h 95"/>
                <a:gd name="T24" fmla="*/ 82 w 149"/>
                <a:gd name="T25" fmla="*/ 8 h 95"/>
                <a:gd name="T26" fmla="*/ 45 w 149"/>
                <a:gd name="T2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95">
                  <a:moveTo>
                    <a:pt x="45" y="0"/>
                  </a:moveTo>
                  <a:cubicBezTo>
                    <a:pt x="43" y="0"/>
                    <a:pt x="41" y="1"/>
                    <a:pt x="40" y="1"/>
                  </a:cubicBezTo>
                  <a:cubicBezTo>
                    <a:pt x="16" y="5"/>
                    <a:pt x="0" y="25"/>
                    <a:pt x="0" y="48"/>
                  </a:cubicBezTo>
                  <a:cubicBezTo>
                    <a:pt x="0" y="50"/>
                    <a:pt x="0" y="53"/>
                    <a:pt x="0" y="56"/>
                  </a:cubicBezTo>
                  <a:cubicBezTo>
                    <a:pt x="4" y="79"/>
                    <a:pt x="24" y="95"/>
                    <a:pt x="47" y="95"/>
                  </a:cubicBezTo>
                  <a:cubicBezTo>
                    <a:pt x="50" y="95"/>
                    <a:pt x="53" y="95"/>
                    <a:pt x="55" y="95"/>
                  </a:cubicBezTo>
                  <a:cubicBezTo>
                    <a:pt x="81" y="90"/>
                    <a:pt x="149" y="31"/>
                    <a:pt x="149" y="31"/>
                  </a:cubicBezTo>
                  <a:cubicBezTo>
                    <a:pt x="149" y="31"/>
                    <a:pt x="145" y="30"/>
                    <a:pt x="139" y="27"/>
                  </a:cubicBezTo>
                  <a:cubicBezTo>
                    <a:pt x="132" y="24"/>
                    <a:pt x="120" y="20"/>
                    <a:pt x="107" y="16"/>
                  </a:cubicBezTo>
                  <a:cubicBezTo>
                    <a:pt x="104" y="15"/>
                    <a:pt x="101" y="15"/>
                    <a:pt x="99" y="15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7" y="14"/>
                    <a:pt x="95" y="13"/>
                    <a:pt x="94" y="13"/>
                  </a:cubicBezTo>
                  <a:cubicBezTo>
                    <a:pt x="90" y="12"/>
                    <a:pt x="86" y="10"/>
                    <a:pt x="82" y="8"/>
                  </a:cubicBezTo>
                  <a:cubicBezTo>
                    <a:pt x="68" y="3"/>
                    <a:pt x="54" y="0"/>
                    <a:pt x="45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s1îďè">
              <a:extLst>
                <a:ext uri="{FF2B5EF4-FFF2-40B4-BE49-F238E27FC236}">
                  <a16:creationId xmlns:a16="http://schemas.microsoft.com/office/drawing/2014/main" id="{F687B4F4-DE37-44A8-B0DF-92E73D270EFA}"/>
                </a:ext>
              </a:extLst>
            </p:cNvPr>
            <p:cNvSpPr/>
            <p:nvPr/>
          </p:nvSpPr>
          <p:spPr bwMode="auto">
            <a:xfrm>
              <a:off x="3984625" y="2189163"/>
              <a:ext cx="130175" cy="206375"/>
            </a:xfrm>
            <a:custGeom>
              <a:avLst/>
              <a:gdLst>
                <a:gd name="T0" fmla="*/ 48 w 95"/>
                <a:gd name="T1" fmla="*/ 0 h 150"/>
                <a:gd name="T2" fmla="*/ 0 w 95"/>
                <a:gd name="T3" fmla="*/ 48 h 150"/>
                <a:gd name="T4" fmla="*/ 48 w 95"/>
                <a:gd name="T5" fmla="*/ 150 h 150"/>
                <a:gd name="T6" fmla="*/ 95 w 95"/>
                <a:gd name="T7" fmla="*/ 47 h 150"/>
                <a:gd name="T8" fmla="*/ 48 w 95"/>
                <a:gd name="T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50">
                  <a:moveTo>
                    <a:pt x="48" y="0"/>
                  </a:moveTo>
                  <a:cubicBezTo>
                    <a:pt x="21" y="0"/>
                    <a:pt x="0" y="21"/>
                    <a:pt x="0" y="48"/>
                  </a:cubicBezTo>
                  <a:cubicBezTo>
                    <a:pt x="0" y="74"/>
                    <a:pt x="48" y="150"/>
                    <a:pt x="48" y="150"/>
                  </a:cubicBezTo>
                  <a:cubicBezTo>
                    <a:pt x="48" y="150"/>
                    <a:pt x="95" y="74"/>
                    <a:pt x="95" y="47"/>
                  </a:cubicBezTo>
                  <a:cubicBezTo>
                    <a:pt x="95" y="21"/>
                    <a:pt x="74" y="0"/>
                    <a:pt x="48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šḷîḍé">
              <a:extLst>
                <a:ext uri="{FF2B5EF4-FFF2-40B4-BE49-F238E27FC236}">
                  <a16:creationId xmlns:a16="http://schemas.microsoft.com/office/drawing/2014/main" id="{D24DAAAD-A8A7-40B7-BAE2-7828331DEE62}"/>
                </a:ext>
              </a:extLst>
            </p:cNvPr>
            <p:cNvSpPr/>
            <p:nvPr/>
          </p:nvSpPr>
          <p:spPr bwMode="auto">
            <a:xfrm>
              <a:off x="4114800" y="225425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Slîḑê">
              <a:extLst>
                <a:ext uri="{FF2B5EF4-FFF2-40B4-BE49-F238E27FC236}">
                  <a16:creationId xmlns:a16="http://schemas.microsoft.com/office/drawing/2014/main" id="{D9C60687-DA7B-4C9A-8912-C763A1AFD35D}"/>
                </a:ext>
              </a:extLst>
            </p:cNvPr>
            <p:cNvSpPr/>
            <p:nvPr/>
          </p:nvSpPr>
          <p:spPr bwMode="auto">
            <a:xfrm>
              <a:off x="4329113" y="2332038"/>
              <a:ext cx="38100" cy="26988"/>
            </a:xfrm>
            <a:custGeom>
              <a:avLst/>
              <a:gdLst>
                <a:gd name="T0" fmla="*/ 0 w 28"/>
                <a:gd name="T1" fmla="*/ 0 h 19"/>
                <a:gd name="T2" fmla="*/ 28 w 28"/>
                <a:gd name="T3" fmla="*/ 19 h 19"/>
                <a:gd name="T4" fmla="*/ 19 w 28"/>
                <a:gd name="T5" fmla="*/ 8 h 19"/>
                <a:gd name="T6" fmla="*/ 6 w 28"/>
                <a:gd name="T7" fmla="*/ 2 h 19"/>
                <a:gd name="T8" fmla="*/ 0 w 2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cubicBezTo>
                    <a:pt x="10" y="7"/>
                    <a:pt x="20" y="13"/>
                    <a:pt x="28" y="19"/>
                  </a:cubicBezTo>
                  <a:cubicBezTo>
                    <a:pt x="25" y="15"/>
                    <a:pt x="22" y="12"/>
                    <a:pt x="19" y="8"/>
                  </a:cubicBezTo>
                  <a:cubicBezTo>
                    <a:pt x="15" y="5"/>
                    <a:pt x="11" y="3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îṩḷíḋè">
              <a:extLst>
                <a:ext uri="{FF2B5EF4-FFF2-40B4-BE49-F238E27FC236}">
                  <a16:creationId xmlns:a16="http://schemas.microsoft.com/office/drawing/2014/main" id="{37639E14-91E7-4C65-A654-F022368C32F2}"/>
                </a:ext>
              </a:extLst>
            </p:cNvPr>
            <p:cNvSpPr/>
            <p:nvPr/>
          </p:nvSpPr>
          <p:spPr bwMode="auto">
            <a:xfrm>
              <a:off x="4254500" y="2379663"/>
              <a:ext cx="128588" cy="152400"/>
            </a:xfrm>
            <a:custGeom>
              <a:avLst/>
              <a:gdLst>
                <a:gd name="T0" fmla="*/ 92 w 93"/>
                <a:gd name="T1" fmla="*/ 0 h 110"/>
                <a:gd name="T2" fmla="*/ 0 w 93"/>
                <a:gd name="T3" fmla="*/ 35 h 110"/>
                <a:gd name="T4" fmla="*/ 15 w 93"/>
                <a:gd name="T5" fmla="*/ 110 h 110"/>
                <a:gd name="T6" fmla="*/ 91 w 93"/>
                <a:gd name="T7" fmla="*/ 26 h 110"/>
                <a:gd name="T8" fmla="*/ 91 w 93"/>
                <a:gd name="T9" fmla="*/ 26 h 110"/>
                <a:gd name="T10" fmla="*/ 93 w 93"/>
                <a:gd name="T11" fmla="*/ 12 h 110"/>
                <a:gd name="T12" fmla="*/ 92 w 93"/>
                <a:gd name="T13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110">
                  <a:moveTo>
                    <a:pt x="92" y="0"/>
                  </a:moveTo>
                  <a:cubicBezTo>
                    <a:pt x="73" y="10"/>
                    <a:pt x="25" y="32"/>
                    <a:pt x="0" y="35"/>
                  </a:cubicBezTo>
                  <a:cubicBezTo>
                    <a:pt x="4" y="69"/>
                    <a:pt x="15" y="110"/>
                    <a:pt x="15" y="110"/>
                  </a:cubicBezTo>
                  <a:cubicBezTo>
                    <a:pt x="15" y="110"/>
                    <a:pt x="83" y="51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3" y="21"/>
                    <a:pt x="93" y="17"/>
                    <a:pt x="93" y="12"/>
                  </a:cubicBezTo>
                  <a:cubicBezTo>
                    <a:pt x="93" y="8"/>
                    <a:pt x="93" y="4"/>
                    <a:pt x="92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ślïďè">
              <a:extLst>
                <a:ext uri="{FF2B5EF4-FFF2-40B4-BE49-F238E27FC236}">
                  <a16:creationId xmlns:a16="http://schemas.microsoft.com/office/drawing/2014/main" id="{5F905FC2-1516-42B8-B256-A7A43E277422}"/>
                </a:ext>
              </a:extLst>
            </p:cNvPr>
            <p:cNvSpPr/>
            <p:nvPr/>
          </p:nvSpPr>
          <p:spPr bwMode="auto">
            <a:xfrm>
              <a:off x="4524375" y="2533650"/>
              <a:ext cx="74613" cy="142875"/>
            </a:xfrm>
            <a:custGeom>
              <a:avLst/>
              <a:gdLst>
                <a:gd name="T0" fmla="*/ 19 w 54"/>
                <a:gd name="T1" fmla="*/ 0 h 104"/>
                <a:gd name="T2" fmla="*/ 0 w 54"/>
                <a:gd name="T3" fmla="*/ 4 h 104"/>
                <a:gd name="T4" fmla="*/ 40 w 54"/>
                <a:gd name="T5" fmla="*/ 104 h 104"/>
                <a:gd name="T6" fmla="*/ 42 w 54"/>
                <a:gd name="T7" fmla="*/ 101 h 104"/>
                <a:gd name="T8" fmla="*/ 54 w 54"/>
                <a:gd name="T9" fmla="*/ 15 h 104"/>
                <a:gd name="T10" fmla="*/ 26 w 54"/>
                <a:gd name="T11" fmla="*/ 1 h 104"/>
                <a:gd name="T12" fmla="*/ 19 w 54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04">
                  <a:moveTo>
                    <a:pt x="19" y="0"/>
                  </a:moveTo>
                  <a:cubicBezTo>
                    <a:pt x="13" y="0"/>
                    <a:pt x="6" y="2"/>
                    <a:pt x="0" y="4"/>
                  </a:cubicBezTo>
                  <a:cubicBezTo>
                    <a:pt x="17" y="38"/>
                    <a:pt x="31" y="72"/>
                    <a:pt x="40" y="104"/>
                  </a:cubicBezTo>
                  <a:cubicBezTo>
                    <a:pt x="41" y="103"/>
                    <a:pt x="42" y="102"/>
                    <a:pt x="42" y="101"/>
                  </a:cubicBezTo>
                  <a:cubicBezTo>
                    <a:pt x="43" y="73"/>
                    <a:pt x="46" y="31"/>
                    <a:pt x="54" y="15"/>
                  </a:cubicBezTo>
                  <a:cubicBezTo>
                    <a:pt x="47" y="8"/>
                    <a:pt x="37" y="2"/>
                    <a:pt x="26" y="1"/>
                  </a:cubicBezTo>
                  <a:cubicBezTo>
                    <a:pt x="24" y="0"/>
                    <a:pt x="22" y="0"/>
                    <a:pt x="19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ṧḻíḑè">
              <a:extLst>
                <a:ext uri="{FF2B5EF4-FFF2-40B4-BE49-F238E27FC236}">
                  <a16:creationId xmlns:a16="http://schemas.microsoft.com/office/drawing/2014/main" id="{249ED074-A591-41CF-AB1F-E28638340D13}"/>
                </a:ext>
              </a:extLst>
            </p:cNvPr>
            <p:cNvSpPr/>
            <p:nvPr/>
          </p:nvSpPr>
          <p:spPr bwMode="auto">
            <a:xfrm>
              <a:off x="4492625" y="2544763"/>
              <a:ext cx="80963" cy="193675"/>
            </a:xfrm>
            <a:custGeom>
              <a:avLst/>
              <a:gdLst>
                <a:gd name="T0" fmla="*/ 40 w 58"/>
                <a:gd name="T1" fmla="*/ 53 h 141"/>
                <a:gd name="T2" fmla="*/ 0 w 58"/>
                <a:gd name="T3" fmla="*/ 64 h 141"/>
                <a:gd name="T4" fmla="*/ 29 w 58"/>
                <a:gd name="T5" fmla="*/ 141 h 141"/>
                <a:gd name="T6" fmla="*/ 58 w 58"/>
                <a:gd name="T7" fmla="*/ 104 h 141"/>
                <a:gd name="T8" fmla="*/ 57 w 58"/>
                <a:gd name="T9" fmla="*/ 103 h 141"/>
                <a:gd name="T10" fmla="*/ 40 w 58"/>
                <a:gd name="T11" fmla="*/ 53 h 141"/>
                <a:gd name="T12" fmla="*/ 16 w 58"/>
                <a:gd name="T13" fmla="*/ 0 h 141"/>
                <a:gd name="T14" fmla="*/ 3 w 58"/>
                <a:gd name="T15" fmla="*/ 13 h 141"/>
                <a:gd name="T16" fmla="*/ 37 w 58"/>
                <a:gd name="T17" fmla="*/ 45 h 141"/>
                <a:gd name="T18" fmla="*/ 16 w 58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141">
                  <a:moveTo>
                    <a:pt x="40" y="53"/>
                  </a:moveTo>
                  <a:cubicBezTo>
                    <a:pt x="33" y="55"/>
                    <a:pt x="17" y="60"/>
                    <a:pt x="0" y="64"/>
                  </a:cubicBezTo>
                  <a:cubicBezTo>
                    <a:pt x="9" y="98"/>
                    <a:pt x="29" y="141"/>
                    <a:pt x="29" y="141"/>
                  </a:cubicBezTo>
                  <a:cubicBezTo>
                    <a:pt x="29" y="141"/>
                    <a:pt x="43" y="124"/>
                    <a:pt x="58" y="104"/>
                  </a:cubicBezTo>
                  <a:cubicBezTo>
                    <a:pt x="58" y="104"/>
                    <a:pt x="57" y="103"/>
                    <a:pt x="57" y="103"/>
                  </a:cubicBezTo>
                  <a:cubicBezTo>
                    <a:pt x="52" y="87"/>
                    <a:pt x="47" y="70"/>
                    <a:pt x="40" y="53"/>
                  </a:cubicBezTo>
                  <a:moveTo>
                    <a:pt x="16" y="0"/>
                  </a:moveTo>
                  <a:cubicBezTo>
                    <a:pt x="11" y="3"/>
                    <a:pt x="7" y="8"/>
                    <a:pt x="3" y="13"/>
                  </a:cubicBezTo>
                  <a:cubicBezTo>
                    <a:pt x="17" y="25"/>
                    <a:pt x="29" y="37"/>
                    <a:pt x="37" y="45"/>
                  </a:cubicBezTo>
                  <a:cubicBezTo>
                    <a:pt x="31" y="30"/>
                    <a:pt x="24" y="15"/>
                    <a:pt x="16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$ḷíďe">
              <a:extLst>
                <a:ext uri="{FF2B5EF4-FFF2-40B4-BE49-F238E27FC236}">
                  <a16:creationId xmlns:a16="http://schemas.microsoft.com/office/drawing/2014/main" id="{DCABE87C-8811-4243-8FD5-7A7CC7EF81CC}"/>
                </a:ext>
              </a:extLst>
            </p:cNvPr>
            <p:cNvSpPr/>
            <p:nvPr/>
          </p:nvSpPr>
          <p:spPr bwMode="auto">
            <a:xfrm>
              <a:off x="4243388" y="1989138"/>
              <a:ext cx="376238" cy="869950"/>
            </a:xfrm>
            <a:custGeom>
              <a:avLst/>
              <a:gdLst>
                <a:gd name="T0" fmla="*/ 0 w 273"/>
                <a:gd name="T1" fmla="*/ 0 h 632"/>
                <a:gd name="T2" fmla="*/ 0 w 273"/>
                <a:gd name="T3" fmla="*/ 0 h 632"/>
                <a:gd name="T4" fmla="*/ 7 w 273"/>
                <a:gd name="T5" fmla="*/ 89 h 632"/>
                <a:gd name="T6" fmla="*/ 17 w 273"/>
                <a:gd name="T7" fmla="*/ 110 h 632"/>
                <a:gd name="T8" fmla="*/ 11 w 273"/>
                <a:gd name="T9" fmla="*/ 109 h 632"/>
                <a:gd name="T10" fmla="*/ 81 w 273"/>
                <a:gd name="T11" fmla="*/ 257 h 632"/>
                <a:gd name="T12" fmla="*/ 81 w 273"/>
                <a:gd name="T13" fmla="*/ 257 h 632"/>
                <a:gd name="T14" fmla="*/ 90 w 273"/>
                <a:gd name="T15" fmla="*/ 268 h 632"/>
                <a:gd name="T16" fmla="*/ 108 w 273"/>
                <a:gd name="T17" fmla="*/ 280 h 632"/>
                <a:gd name="T18" fmla="*/ 104 w 273"/>
                <a:gd name="T19" fmla="*/ 282 h 632"/>
                <a:gd name="T20" fmla="*/ 116 w 273"/>
                <a:gd name="T21" fmla="*/ 294 h 632"/>
                <a:gd name="T22" fmla="*/ 116 w 273"/>
                <a:gd name="T23" fmla="*/ 294 h 632"/>
                <a:gd name="T24" fmla="*/ 197 w 273"/>
                <a:gd name="T25" fmla="*/ 404 h 632"/>
                <a:gd name="T26" fmla="*/ 197 w 273"/>
                <a:gd name="T27" fmla="*/ 404 h 632"/>
                <a:gd name="T28" fmla="*/ 218 w 273"/>
                <a:gd name="T29" fmla="*/ 449 h 632"/>
                <a:gd name="T30" fmla="*/ 225 w 273"/>
                <a:gd name="T31" fmla="*/ 456 h 632"/>
                <a:gd name="T32" fmla="*/ 221 w 273"/>
                <a:gd name="T33" fmla="*/ 457 h 632"/>
                <a:gd name="T34" fmla="*/ 238 w 273"/>
                <a:gd name="T35" fmla="*/ 507 h 632"/>
                <a:gd name="T36" fmla="*/ 239 w 273"/>
                <a:gd name="T37" fmla="*/ 508 h 632"/>
                <a:gd name="T38" fmla="*/ 239 w 273"/>
                <a:gd name="T39" fmla="*/ 508 h 632"/>
                <a:gd name="T40" fmla="*/ 260 w 273"/>
                <a:gd name="T41" fmla="*/ 596 h 632"/>
                <a:gd name="T42" fmla="*/ 261 w 273"/>
                <a:gd name="T43" fmla="*/ 606 h 632"/>
                <a:gd name="T44" fmla="*/ 264 w 273"/>
                <a:gd name="T45" fmla="*/ 623 h 632"/>
                <a:gd name="T46" fmla="*/ 264 w 273"/>
                <a:gd name="T47" fmla="*/ 625 h 632"/>
                <a:gd name="T48" fmla="*/ 265 w 273"/>
                <a:gd name="T49" fmla="*/ 630 h 632"/>
                <a:gd name="T50" fmla="*/ 265 w 273"/>
                <a:gd name="T51" fmla="*/ 632 h 632"/>
                <a:gd name="T52" fmla="*/ 268 w 273"/>
                <a:gd name="T53" fmla="*/ 632 h 632"/>
                <a:gd name="T54" fmla="*/ 273 w 273"/>
                <a:gd name="T55" fmla="*/ 632 h 632"/>
                <a:gd name="T56" fmla="*/ 272 w 273"/>
                <a:gd name="T57" fmla="*/ 622 h 632"/>
                <a:gd name="T58" fmla="*/ 251 w 273"/>
                <a:gd name="T59" fmla="*/ 520 h 632"/>
                <a:gd name="T60" fmla="*/ 246 w 273"/>
                <a:gd name="T61" fmla="*/ 523 h 632"/>
                <a:gd name="T62" fmla="*/ 246 w 273"/>
                <a:gd name="T63" fmla="*/ 505 h 632"/>
                <a:gd name="T64" fmla="*/ 244 w 273"/>
                <a:gd name="T65" fmla="*/ 500 h 632"/>
                <a:gd name="T66" fmla="*/ 244 w 273"/>
                <a:gd name="T67" fmla="*/ 500 h 632"/>
                <a:gd name="T68" fmla="*/ 204 w 273"/>
                <a:gd name="T69" fmla="*/ 400 h 632"/>
                <a:gd name="T70" fmla="*/ 204 w 273"/>
                <a:gd name="T71" fmla="*/ 400 h 632"/>
                <a:gd name="T72" fmla="*/ 140 w 273"/>
                <a:gd name="T73" fmla="*/ 307 h 632"/>
                <a:gd name="T74" fmla="*/ 136 w 273"/>
                <a:gd name="T75" fmla="*/ 308 h 632"/>
                <a:gd name="T76" fmla="*/ 137 w 273"/>
                <a:gd name="T77" fmla="*/ 304 h 632"/>
                <a:gd name="T78" fmla="*/ 122 w 273"/>
                <a:gd name="T79" fmla="*/ 288 h 632"/>
                <a:gd name="T80" fmla="*/ 121 w 273"/>
                <a:gd name="T81" fmla="*/ 288 h 632"/>
                <a:gd name="T82" fmla="*/ 30 w 273"/>
                <a:gd name="T83" fmla="*/ 149 h 632"/>
                <a:gd name="T84" fmla="*/ 26 w 273"/>
                <a:gd name="T85" fmla="*/ 152 h 632"/>
                <a:gd name="T86" fmla="*/ 23 w 273"/>
                <a:gd name="T87" fmla="*/ 127 h 632"/>
                <a:gd name="T88" fmla="*/ 18 w 273"/>
                <a:gd name="T89" fmla="*/ 103 h 632"/>
                <a:gd name="T90" fmla="*/ 18 w 273"/>
                <a:gd name="T91" fmla="*/ 103 h 632"/>
                <a:gd name="T92" fmla="*/ 8 w 273"/>
                <a:gd name="T93" fmla="*/ 0 h 632"/>
                <a:gd name="T94" fmla="*/ 8 w 273"/>
                <a:gd name="T95" fmla="*/ 0 h 632"/>
                <a:gd name="T96" fmla="*/ 7 w 273"/>
                <a:gd name="T97" fmla="*/ 0 h 632"/>
                <a:gd name="T98" fmla="*/ 6 w 273"/>
                <a:gd name="T99" fmla="*/ 2 h 632"/>
                <a:gd name="T100" fmla="*/ 3 w 273"/>
                <a:gd name="T101" fmla="*/ 0 h 632"/>
                <a:gd name="T102" fmla="*/ 0 w 273"/>
                <a:gd name="T10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3" h="63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3" y="59"/>
                    <a:pt x="7" y="89"/>
                  </a:cubicBezTo>
                  <a:cubicBezTo>
                    <a:pt x="13" y="101"/>
                    <a:pt x="17" y="110"/>
                    <a:pt x="17" y="110"/>
                  </a:cubicBezTo>
                  <a:cubicBezTo>
                    <a:pt x="17" y="110"/>
                    <a:pt x="15" y="110"/>
                    <a:pt x="11" y="109"/>
                  </a:cubicBezTo>
                  <a:cubicBezTo>
                    <a:pt x="22" y="164"/>
                    <a:pt x="46" y="214"/>
                    <a:pt x="81" y="257"/>
                  </a:cubicBezTo>
                  <a:cubicBezTo>
                    <a:pt x="81" y="257"/>
                    <a:pt x="81" y="257"/>
                    <a:pt x="81" y="257"/>
                  </a:cubicBezTo>
                  <a:cubicBezTo>
                    <a:pt x="84" y="261"/>
                    <a:pt x="87" y="264"/>
                    <a:pt x="90" y="268"/>
                  </a:cubicBezTo>
                  <a:cubicBezTo>
                    <a:pt x="101" y="275"/>
                    <a:pt x="108" y="280"/>
                    <a:pt x="108" y="280"/>
                  </a:cubicBezTo>
                  <a:cubicBezTo>
                    <a:pt x="108" y="280"/>
                    <a:pt x="106" y="281"/>
                    <a:pt x="104" y="282"/>
                  </a:cubicBezTo>
                  <a:cubicBezTo>
                    <a:pt x="108" y="286"/>
                    <a:pt x="112" y="290"/>
                    <a:pt x="116" y="294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50" y="325"/>
                    <a:pt x="177" y="364"/>
                    <a:pt x="197" y="404"/>
                  </a:cubicBezTo>
                  <a:cubicBezTo>
                    <a:pt x="197" y="404"/>
                    <a:pt x="197" y="404"/>
                    <a:pt x="197" y="404"/>
                  </a:cubicBezTo>
                  <a:cubicBezTo>
                    <a:pt x="205" y="419"/>
                    <a:pt x="212" y="434"/>
                    <a:pt x="218" y="449"/>
                  </a:cubicBezTo>
                  <a:cubicBezTo>
                    <a:pt x="222" y="453"/>
                    <a:pt x="225" y="456"/>
                    <a:pt x="225" y="456"/>
                  </a:cubicBezTo>
                  <a:cubicBezTo>
                    <a:pt x="225" y="456"/>
                    <a:pt x="223" y="457"/>
                    <a:pt x="221" y="457"/>
                  </a:cubicBezTo>
                  <a:cubicBezTo>
                    <a:pt x="228" y="474"/>
                    <a:pt x="233" y="491"/>
                    <a:pt x="238" y="507"/>
                  </a:cubicBezTo>
                  <a:cubicBezTo>
                    <a:pt x="238" y="507"/>
                    <a:pt x="239" y="508"/>
                    <a:pt x="239" y="508"/>
                  </a:cubicBezTo>
                  <a:cubicBezTo>
                    <a:pt x="239" y="508"/>
                    <a:pt x="239" y="508"/>
                    <a:pt x="239" y="508"/>
                  </a:cubicBezTo>
                  <a:cubicBezTo>
                    <a:pt x="249" y="543"/>
                    <a:pt x="256" y="574"/>
                    <a:pt x="260" y="596"/>
                  </a:cubicBezTo>
                  <a:cubicBezTo>
                    <a:pt x="260" y="600"/>
                    <a:pt x="261" y="603"/>
                    <a:pt x="261" y="606"/>
                  </a:cubicBezTo>
                  <a:cubicBezTo>
                    <a:pt x="263" y="613"/>
                    <a:pt x="263" y="618"/>
                    <a:pt x="264" y="623"/>
                  </a:cubicBezTo>
                  <a:cubicBezTo>
                    <a:pt x="264" y="624"/>
                    <a:pt x="264" y="624"/>
                    <a:pt x="264" y="625"/>
                  </a:cubicBezTo>
                  <a:cubicBezTo>
                    <a:pt x="264" y="627"/>
                    <a:pt x="265" y="629"/>
                    <a:pt x="265" y="630"/>
                  </a:cubicBezTo>
                  <a:cubicBezTo>
                    <a:pt x="265" y="632"/>
                    <a:pt x="265" y="632"/>
                    <a:pt x="265" y="632"/>
                  </a:cubicBezTo>
                  <a:cubicBezTo>
                    <a:pt x="268" y="632"/>
                    <a:pt x="268" y="632"/>
                    <a:pt x="268" y="632"/>
                  </a:cubicBezTo>
                  <a:cubicBezTo>
                    <a:pt x="273" y="632"/>
                    <a:pt x="273" y="632"/>
                    <a:pt x="273" y="632"/>
                  </a:cubicBezTo>
                  <a:cubicBezTo>
                    <a:pt x="273" y="632"/>
                    <a:pt x="273" y="628"/>
                    <a:pt x="272" y="622"/>
                  </a:cubicBezTo>
                  <a:cubicBezTo>
                    <a:pt x="270" y="605"/>
                    <a:pt x="264" y="567"/>
                    <a:pt x="251" y="520"/>
                  </a:cubicBezTo>
                  <a:cubicBezTo>
                    <a:pt x="248" y="522"/>
                    <a:pt x="246" y="523"/>
                    <a:pt x="246" y="523"/>
                  </a:cubicBezTo>
                  <a:cubicBezTo>
                    <a:pt x="246" y="523"/>
                    <a:pt x="246" y="516"/>
                    <a:pt x="246" y="505"/>
                  </a:cubicBezTo>
                  <a:cubicBezTo>
                    <a:pt x="245" y="503"/>
                    <a:pt x="245" y="501"/>
                    <a:pt x="244" y="500"/>
                  </a:cubicBezTo>
                  <a:cubicBezTo>
                    <a:pt x="244" y="500"/>
                    <a:pt x="244" y="500"/>
                    <a:pt x="244" y="500"/>
                  </a:cubicBezTo>
                  <a:cubicBezTo>
                    <a:pt x="235" y="468"/>
                    <a:pt x="221" y="434"/>
                    <a:pt x="204" y="400"/>
                  </a:cubicBezTo>
                  <a:cubicBezTo>
                    <a:pt x="204" y="400"/>
                    <a:pt x="204" y="400"/>
                    <a:pt x="204" y="400"/>
                  </a:cubicBezTo>
                  <a:cubicBezTo>
                    <a:pt x="187" y="367"/>
                    <a:pt x="166" y="335"/>
                    <a:pt x="140" y="307"/>
                  </a:cubicBezTo>
                  <a:cubicBezTo>
                    <a:pt x="138" y="308"/>
                    <a:pt x="136" y="308"/>
                    <a:pt x="136" y="308"/>
                  </a:cubicBezTo>
                  <a:cubicBezTo>
                    <a:pt x="136" y="308"/>
                    <a:pt x="137" y="307"/>
                    <a:pt x="137" y="304"/>
                  </a:cubicBezTo>
                  <a:cubicBezTo>
                    <a:pt x="132" y="298"/>
                    <a:pt x="127" y="293"/>
                    <a:pt x="122" y="288"/>
                  </a:cubicBezTo>
                  <a:cubicBezTo>
                    <a:pt x="121" y="288"/>
                    <a:pt x="121" y="288"/>
                    <a:pt x="121" y="288"/>
                  </a:cubicBezTo>
                  <a:cubicBezTo>
                    <a:pt x="80" y="250"/>
                    <a:pt x="48" y="202"/>
                    <a:pt x="30" y="149"/>
                  </a:cubicBezTo>
                  <a:cubicBezTo>
                    <a:pt x="28" y="151"/>
                    <a:pt x="26" y="152"/>
                    <a:pt x="26" y="152"/>
                  </a:cubicBezTo>
                  <a:cubicBezTo>
                    <a:pt x="26" y="152"/>
                    <a:pt x="25" y="141"/>
                    <a:pt x="23" y="127"/>
                  </a:cubicBezTo>
                  <a:cubicBezTo>
                    <a:pt x="21" y="119"/>
                    <a:pt x="19" y="111"/>
                    <a:pt x="18" y="103"/>
                  </a:cubicBezTo>
                  <a:cubicBezTo>
                    <a:pt x="18" y="103"/>
                    <a:pt x="18" y="103"/>
                    <a:pt x="18" y="103"/>
                  </a:cubicBezTo>
                  <a:cubicBezTo>
                    <a:pt x="12" y="69"/>
                    <a:pt x="8" y="35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5" y="2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D5A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şļïḑê">
              <a:extLst>
                <a:ext uri="{FF2B5EF4-FFF2-40B4-BE49-F238E27FC236}">
                  <a16:creationId xmlns:a16="http://schemas.microsoft.com/office/drawing/2014/main" id="{62B20005-E3C0-49AF-9F4A-7CD77A894E7B}"/>
                </a:ext>
              </a:extLst>
            </p:cNvPr>
            <p:cNvSpPr/>
            <p:nvPr/>
          </p:nvSpPr>
          <p:spPr bwMode="auto">
            <a:xfrm>
              <a:off x="4125913" y="1797050"/>
              <a:ext cx="147638" cy="195263"/>
            </a:xfrm>
            <a:custGeom>
              <a:avLst/>
              <a:gdLst>
                <a:gd name="T0" fmla="*/ 54 w 107"/>
                <a:gd name="T1" fmla="*/ 0 h 142"/>
                <a:gd name="T2" fmla="*/ 36 w 107"/>
                <a:gd name="T3" fmla="*/ 3 h 142"/>
                <a:gd name="T4" fmla="*/ 10 w 107"/>
                <a:gd name="T5" fmla="*/ 65 h 142"/>
                <a:gd name="T6" fmla="*/ 89 w 107"/>
                <a:gd name="T7" fmla="*/ 140 h 142"/>
                <a:gd name="T8" fmla="*/ 92 w 107"/>
                <a:gd name="T9" fmla="*/ 142 h 142"/>
                <a:gd name="T10" fmla="*/ 93 w 107"/>
                <a:gd name="T11" fmla="*/ 140 h 142"/>
                <a:gd name="T12" fmla="*/ 98 w 107"/>
                <a:gd name="T13" fmla="*/ 30 h 142"/>
                <a:gd name="T14" fmla="*/ 54 w 107"/>
                <a:gd name="T15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142">
                  <a:moveTo>
                    <a:pt x="54" y="0"/>
                  </a:moveTo>
                  <a:cubicBezTo>
                    <a:pt x="48" y="0"/>
                    <a:pt x="42" y="1"/>
                    <a:pt x="36" y="3"/>
                  </a:cubicBezTo>
                  <a:cubicBezTo>
                    <a:pt x="12" y="13"/>
                    <a:pt x="0" y="41"/>
                    <a:pt x="10" y="65"/>
                  </a:cubicBezTo>
                  <a:cubicBezTo>
                    <a:pt x="19" y="87"/>
                    <a:pt x="76" y="130"/>
                    <a:pt x="89" y="140"/>
                  </a:cubicBezTo>
                  <a:cubicBezTo>
                    <a:pt x="91" y="142"/>
                    <a:pt x="92" y="142"/>
                    <a:pt x="92" y="142"/>
                  </a:cubicBezTo>
                  <a:cubicBezTo>
                    <a:pt x="92" y="142"/>
                    <a:pt x="93" y="142"/>
                    <a:pt x="93" y="140"/>
                  </a:cubicBezTo>
                  <a:cubicBezTo>
                    <a:pt x="95" y="127"/>
                    <a:pt x="107" y="52"/>
                    <a:pt x="98" y="30"/>
                  </a:cubicBezTo>
                  <a:cubicBezTo>
                    <a:pt x="91" y="11"/>
                    <a:pt x="73" y="0"/>
                    <a:pt x="54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ṣľïḑé">
              <a:extLst>
                <a:ext uri="{FF2B5EF4-FFF2-40B4-BE49-F238E27FC236}">
                  <a16:creationId xmlns:a16="http://schemas.microsoft.com/office/drawing/2014/main" id="{87E1C8D5-F511-49D7-927A-F3D1551222E8}"/>
                </a:ext>
              </a:extLst>
            </p:cNvPr>
            <p:cNvSpPr/>
            <p:nvPr/>
          </p:nvSpPr>
          <p:spPr bwMode="auto">
            <a:xfrm>
              <a:off x="4076700" y="1993900"/>
              <a:ext cx="190500" cy="147638"/>
            </a:xfrm>
            <a:custGeom>
              <a:avLst/>
              <a:gdLst>
                <a:gd name="T0" fmla="*/ 54 w 138"/>
                <a:gd name="T1" fmla="*/ 0 h 107"/>
                <a:gd name="T2" fmla="*/ 15 w 138"/>
                <a:gd name="T3" fmla="*/ 20 h 107"/>
                <a:gd name="T4" fmla="*/ 26 w 138"/>
                <a:gd name="T5" fmla="*/ 87 h 107"/>
                <a:gd name="T6" fmla="*/ 26 w 138"/>
                <a:gd name="T7" fmla="*/ 87 h 107"/>
                <a:gd name="T8" fmla="*/ 132 w 138"/>
                <a:gd name="T9" fmla="*/ 106 h 107"/>
                <a:gd name="T10" fmla="*/ 138 w 138"/>
                <a:gd name="T11" fmla="*/ 107 h 107"/>
                <a:gd name="T12" fmla="*/ 128 w 138"/>
                <a:gd name="T13" fmla="*/ 86 h 107"/>
                <a:gd name="T14" fmla="*/ 81 w 138"/>
                <a:gd name="T15" fmla="*/ 9 h 107"/>
                <a:gd name="T16" fmla="*/ 54 w 138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107">
                  <a:moveTo>
                    <a:pt x="54" y="0"/>
                  </a:moveTo>
                  <a:cubicBezTo>
                    <a:pt x="39" y="0"/>
                    <a:pt x="24" y="7"/>
                    <a:pt x="15" y="20"/>
                  </a:cubicBezTo>
                  <a:cubicBezTo>
                    <a:pt x="0" y="42"/>
                    <a:pt x="5" y="72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45" y="99"/>
                    <a:pt x="112" y="105"/>
                    <a:pt x="132" y="106"/>
                  </a:cubicBezTo>
                  <a:cubicBezTo>
                    <a:pt x="136" y="107"/>
                    <a:pt x="138" y="107"/>
                    <a:pt x="138" y="107"/>
                  </a:cubicBezTo>
                  <a:cubicBezTo>
                    <a:pt x="138" y="107"/>
                    <a:pt x="134" y="98"/>
                    <a:pt x="128" y="86"/>
                  </a:cubicBezTo>
                  <a:cubicBezTo>
                    <a:pt x="116" y="60"/>
                    <a:pt x="96" y="19"/>
                    <a:pt x="81" y="9"/>
                  </a:cubicBezTo>
                  <a:cubicBezTo>
                    <a:pt x="73" y="3"/>
                    <a:pt x="63" y="0"/>
                    <a:pt x="54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ḻîḍé">
              <a:extLst>
                <a:ext uri="{FF2B5EF4-FFF2-40B4-BE49-F238E27FC236}">
                  <a16:creationId xmlns:a16="http://schemas.microsoft.com/office/drawing/2014/main" id="{40E96179-8AD3-401A-8156-853719AB8F34}"/>
                </a:ext>
              </a:extLst>
            </p:cNvPr>
            <p:cNvSpPr/>
            <p:nvPr/>
          </p:nvSpPr>
          <p:spPr bwMode="auto">
            <a:xfrm>
              <a:off x="4183063" y="2297113"/>
              <a:ext cx="209550" cy="131763"/>
            </a:xfrm>
            <a:custGeom>
              <a:avLst/>
              <a:gdLst>
                <a:gd name="T0" fmla="*/ 50 w 152"/>
                <a:gd name="T1" fmla="*/ 0 h 95"/>
                <a:gd name="T2" fmla="*/ 2 w 152"/>
                <a:gd name="T3" fmla="*/ 44 h 95"/>
                <a:gd name="T4" fmla="*/ 46 w 152"/>
                <a:gd name="T5" fmla="*/ 95 h 95"/>
                <a:gd name="T6" fmla="*/ 48 w 152"/>
                <a:gd name="T7" fmla="*/ 95 h 95"/>
                <a:gd name="T8" fmla="*/ 52 w 152"/>
                <a:gd name="T9" fmla="*/ 95 h 95"/>
                <a:gd name="T10" fmla="*/ 52 w 152"/>
                <a:gd name="T11" fmla="*/ 95 h 95"/>
                <a:gd name="T12" fmla="*/ 144 w 152"/>
                <a:gd name="T13" fmla="*/ 60 h 95"/>
                <a:gd name="T14" fmla="*/ 144 w 152"/>
                <a:gd name="T15" fmla="*/ 60 h 95"/>
                <a:gd name="T16" fmla="*/ 148 w 152"/>
                <a:gd name="T17" fmla="*/ 58 h 95"/>
                <a:gd name="T18" fmla="*/ 152 w 152"/>
                <a:gd name="T19" fmla="*/ 56 h 95"/>
                <a:gd name="T20" fmla="*/ 134 w 152"/>
                <a:gd name="T21" fmla="*/ 44 h 95"/>
                <a:gd name="T22" fmla="*/ 106 w 152"/>
                <a:gd name="T23" fmla="*/ 25 h 95"/>
                <a:gd name="T24" fmla="*/ 106 w 152"/>
                <a:gd name="T25" fmla="*/ 25 h 95"/>
                <a:gd name="T26" fmla="*/ 54 w 152"/>
                <a:gd name="T27" fmla="*/ 0 h 95"/>
                <a:gd name="T28" fmla="*/ 50 w 152"/>
                <a:gd name="T2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2" h="95">
                  <a:moveTo>
                    <a:pt x="50" y="0"/>
                  </a:moveTo>
                  <a:cubicBezTo>
                    <a:pt x="25" y="0"/>
                    <a:pt x="4" y="19"/>
                    <a:pt x="2" y="44"/>
                  </a:cubicBezTo>
                  <a:cubicBezTo>
                    <a:pt x="0" y="70"/>
                    <a:pt x="19" y="93"/>
                    <a:pt x="46" y="95"/>
                  </a:cubicBezTo>
                  <a:cubicBezTo>
                    <a:pt x="46" y="95"/>
                    <a:pt x="47" y="95"/>
                    <a:pt x="48" y="95"/>
                  </a:cubicBezTo>
                  <a:cubicBezTo>
                    <a:pt x="49" y="95"/>
                    <a:pt x="51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77" y="92"/>
                    <a:pt x="125" y="70"/>
                    <a:pt x="144" y="60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60"/>
                    <a:pt x="147" y="59"/>
                    <a:pt x="148" y="58"/>
                  </a:cubicBezTo>
                  <a:cubicBezTo>
                    <a:pt x="150" y="57"/>
                    <a:pt x="152" y="56"/>
                    <a:pt x="152" y="56"/>
                  </a:cubicBezTo>
                  <a:cubicBezTo>
                    <a:pt x="152" y="56"/>
                    <a:pt x="145" y="51"/>
                    <a:pt x="134" y="44"/>
                  </a:cubicBezTo>
                  <a:cubicBezTo>
                    <a:pt x="126" y="38"/>
                    <a:pt x="116" y="32"/>
                    <a:pt x="106" y="25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86" y="13"/>
                    <a:pt x="65" y="1"/>
                    <a:pt x="54" y="0"/>
                  </a:cubicBezTo>
                  <a:cubicBezTo>
                    <a:pt x="52" y="0"/>
                    <a:pt x="51" y="0"/>
                    <a:pt x="50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S1îḍé">
              <a:extLst>
                <a:ext uri="{FF2B5EF4-FFF2-40B4-BE49-F238E27FC236}">
                  <a16:creationId xmlns:a16="http://schemas.microsoft.com/office/drawing/2014/main" id="{6349B71C-B9D9-422A-9D54-0B1E613A8E13}"/>
                </a:ext>
              </a:extLst>
            </p:cNvPr>
            <p:cNvSpPr/>
            <p:nvPr/>
          </p:nvSpPr>
          <p:spPr bwMode="auto">
            <a:xfrm>
              <a:off x="4346575" y="2514600"/>
              <a:ext cx="207963" cy="131763"/>
            </a:xfrm>
            <a:custGeom>
              <a:avLst/>
              <a:gdLst>
                <a:gd name="T0" fmla="*/ 49 w 151"/>
                <a:gd name="T1" fmla="*/ 0 h 96"/>
                <a:gd name="T2" fmla="*/ 4 w 151"/>
                <a:gd name="T3" fmla="*/ 33 h 96"/>
                <a:gd name="T4" fmla="*/ 3 w 151"/>
                <a:gd name="T5" fmla="*/ 36 h 96"/>
                <a:gd name="T6" fmla="*/ 2 w 151"/>
                <a:gd name="T7" fmla="*/ 44 h 96"/>
                <a:gd name="T8" fmla="*/ 23 w 151"/>
                <a:gd name="T9" fmla="*/ 88 h 96"/>
                <a:gd name="T10" fmla="*/ 23 w 151"/>
                <a:gd name="T11" fmla="*/ 88 h 96"/>
                <a:gd name="T12" fmla="*/ 35 w 151"/>
                <a:gd name="T13" fmla="*/ 93 h 96"/>
                <a:gd name="T14" fmla="*/ 39 w 151"/>
                <a:gd name="T15" fmla="*/ 94 h 96"/>
                <a:gd name="T16" fmla="*/ 40 w 151"/>
                <a:gd name="T17" fmla="*/ 95 h 96"/>
                <a:gd name="T18" fmla="*/ 48 w 151"/>
                <a:gd name="T19" fmla="*/ 96 h 96"/>
                <a:gd name="T20" fmla="*/ 48 w 151"/>
                <a:gd name="T21" fmla="*/ 96 h 96"/>
                <a:gd name="T22" fmla="*/ 50 w 151"/>
                <a:gd name="T23" fmla="*/ 96 h 96"/>
                <a:gd name="T24" fmla="*/ 66 w 151"/>
                <a:gd name="T25" fmla="*/ 94 h 96"/>
                <a:gd name="T26" fmla="*/ 77 w 151"/>
                <a:gd name="T27" fmla="*/ 93 h 96"/>
                <a:gd name="T28" fmla="*/ 107 w 151"/>
                <a:gd name="T29" fmla="*/ 86 h 96"/>
                <a:gd name="T30" fmla="*/ 107 w 151"/>
                <a:gd name="T31" fmla="*/ 86 h 96"/>
                <a:gd name="T32" fmla="*/ 147 w 151"/>
                <a:gd name="T33" fmla="*/ 75 h 96"/>
                <a:gd name="T34" fmla="*/ 151 w 151"/>
                <a:gd name="T35" fmla="*/ 74 h 96"/>
                <a:gd name="T36" fmla="*/ 144 w 151"/>
                <a:gd name="T37" fmla="*/ 67 h 96"/>
                <a:gd name="T38" fmla="*/ 110 w 151"/>
                <a:gd name="T39" fmla="*/ 35 h 96"/>
                <a:gd name="T40" fmla="*/ 110 w 151"/>
                <a:gd name="T41" fmla="*/ 35 h 96"/>
                <a:gd name="T42" fmla="*/ 63 w 151"/>
                <a:gd name="T43" fmla="*/ 2 h 96"/>
                <a:gd name="T44" fmla="*/ 49 w 151"/>
                <a:gd name="T45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" h="96">
                  <a:moveTo>
                    <a:pt x="49" y="0"/>
                  </a:moveTo>
                  <a:cubicBezTo>
                    <a:pt x="29" y="0"/>
                    <a:pt x="10" y="13"/>
                    <a:pt x="4" y="33"/>
                  </a:cubicBezTo>
                  <a:cubicBezTo>
                    <a:pt x="3" y="34"/>
                    <a:pt x="3" y="35"/>
                    <a:pt x="3" y="36"/>
                  </a:cubicBezTo>
                  <a:cubicBezTo>
                    <a:pt x="2" y="39"/>
                    <a:pt x="2" y="42"/>
                    <a:pt x="2" y="44"/>
                  </a:cubicBezTo>
                  <a:cubicBezTo>
                    <a:pt x="0" y="62"/>
                    <a:pt x="9" y="7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7" y="90"/>
                    <a:pt x="31" y="92"/>
                    <a:pt x="35" y="93"/>
                  </a:cubicBezTo>
                  <a:cubicBezTo>
                    <a:pt x="36" y="93"/>
                    <a:pt x="38" y="94"/>
                    <a:pt x="39" y="94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42" y="95"/>
                    <a:pt x="45" y="95"/>
                    <a:pt x="48" y="96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49" y="96"/>
                    <a:pt x="49" y="96"/>
                    <a:pt x="50" y="96"/>
                  </a:cubicBezTo>
                  <a:cubicBezTo>
                    <a:pt x="55" y="96"/>
                    <a:pt x="60" y="95"/>
                    <a:pt x="66" y="94"/>
                  </a:cubicBezTo>
                  <a:cubicBezTo>
                    <a:pt x="70" y="94"/>
                    <a:pt x="73" y="93"/>
                    <a:pt x="77" y="93"/>
                  </a:cubicBezTo>
                  <a:cubicBezTo>
                    <a:pt x="86" y="91"/>
                    <a:pt x="97" y="89"/>
                    <a:pt x="107" y="86"/>
                  </a:cubicBezTo>
                  <a:cubicBezTo>
                    <a:pt x="107" y="86"/>
                    <a:pt x="107" y="86"/>
                    <a:pt x="107" y="86"/>
                  </a:cubicBezTo>
                  <a:cubicBezTo>
                    <a:pt x="124" y="82"/>
                    <a:pt x="140" y="77"/>
                    <a:pt x="147" y="75"/>
                  </a:cubicBezTo>
                  <a:cubicBezTo>
                    <a:pt x="149" y="75"/>
                    <a:pt x="151" y="74"/>
                    <a:pt x="151" y="74"/>
                  </a:cubicBezTo>
                  <a:cubicBezTo>
                    <a:pt x="151" y="74"/>
                    <a:pt x="148" y="71"/>
                    <a:pt x="144" y="67"/>
                  </a:cubicBezTo>
                  <a:cubicBezTo>
                    <a:pt x="136" y="59"/>
                    <a:pt x="124" y="47"/>
                    <a:pt x="110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93" y="20"/>
                    <a:pt x="75" y="5"/>
                    <a:pt x="63" y="2"/>
                  </a:cubicBezTo>
                  <a:cubicBezTo>
                    <a:pt x="59" y="1"/>
                    <a:pt x="54" y="0"/>
                    <a:pt x="49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śľïdè">
              <a:extLst>
                <a:ext uri="{FF2B5EF4-FFF2-40B4-BE49-F238E27FC236}">
                  <a16:creationId xmlns:a16="http://schemas.microsoft.com/office/drawing/2014/main" id="{6DD0BC53-2420-40EC-9123-CF98407DFD6B}"/>
                </a:ext>
              </a:extLst>
            </p:cNvPr>
            <p:cNvSpPr/>
            <p:nvPr/>
          </p:nvSpPr>
          <p:spPr bwMode="auto">
            <a:xfrm>
              <a:off x="4267200" y="2003425"/>
              <a:ext cx="144463" cy="195263"/>
            </a:xfrm>
            <a:custGeom>
              <a:avLst/>
              <a:gdLst>
                <a:gd name="T0" fmla="*/ 51 w 105"/>
                <a:gd name="T1" fmla="*/ 0 h 142"/>
                <a:gd name="T2" fmla="*/ 7 w 105"/>
                <a:gd name="T3" fmla="*/ 29 h 142"/>
                <a:gd name="T4" fmla="*/ 6 w 105"/>
                <a:gd name="T5" fmla="*/ 117 h 142"/>
                <a:gd name="T6" fmla="*/ 9 w 105"/>
                <a:gd name="T7" fmla="*/ 142 h 142"/>
                <a:gd name="T8" fmla="*/ 13 w 105"/>
                <a:gd name="T9" fmla="*/ 139 h 142"/>
                <a:gd name="T10" fmla="*/ 94 w 105"/>
                <a:gd name="T11" fmla="*/ 67 h 142"/>
                <a:gd name="T12" fmla="*/ 70 w 105"/>
                <a:gd name="T13" fmla="*/ 4 h 142"/>
                <a:gd name="T14" fmla="*/ 51 w 105"/>
                <a:gd name="T15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42">
                  <a:moveTo>
                    <a:pt x="51" y="0"/>
                  </a:moveTo>
                  <a:cubicBezTo>
                    <a:pt x="32" y="0"/>
                    <a:pt x="15" y="11"/>
                    <a:pt x="7" y="29"/>
                  </a:cubicBezTo>
                  <a:cubicBezTo>
                    <a:pt x="0" y="44"/>
                    <a:pt x="3" y="89"/>
                    <a:pt x="6" y="117"/>
                  </a:cubicBezTo>
                  <a:cubicBezTo>
                    <a:pt x="8" y="131"/>
                    <a:pt x="9" y="142"/>
                    <a:pt x="9" y="142"/>
                  </a:cubicBezTo>
                  <a:cubicBezTo>
                    <a:pt x="9" y="142"/>
                    <a:pt x="11" y="141"/>
                    <a:pt x="13" y="139"/>
                  </a:cubicBezTo>
                  <a:cubicBezTo>
                    <a:pt x="28" y="128"/>
                    <a:pt x="85" y="88"/>
                    <a:pt x="94" y="67"/>
                  </a:cubicBezTo>
                  <a:cubicBezTo>
                    <a:pt x="105" y="43"/>
                    <a:pt x="94" y="15"/>
                    <a:pt x="70" y="4"/>
                  </a:cubicBezTo>
                  <a:cubicBezTo>
                    <a:pt x="64" y="2"/>
                    <a:pt x="57" y="0"/>
                    <a:pt x="51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sľîḋè">
              <a:extLst>
                <a:ext uri="{FF2B5EF4-FFF2-40B4-BE49-F238E27FC236}">
                  <a16:creationId xmlns:a16="http://schemas.microsoft.com/office/drawing/2014/main" id="{1A559024-285D-437F-82B6-57E06CEDC42D}"/>
                </a:ext>
              </a:extLst>
            </p:cNvPr>
            <p:cNvSpPr/>
            <p:nvPr/>
          </p:nvSpPr>
          <p:spPr bwMode="auto">
            <a:xfrm>
              <a:off x="4430713" y="2243138"/>
              <a:ext cx="166688" cy="169863"/>
            </a:xfrm>
            <a:custGeom>
              <a:avLst/>
              <a:gdLst>
                <a:gd name="T0" fmla="*/ 68 w 121"/>
                <a:gd name="T1" fmla="*/ 0 h 124"/>
                <a:gd name="T2" fmla="*/ 32 w 121"/>
                <a:gd name="T3" fmla="*/ 16 h 124"/>
                <a:gd name="T4" fmla="*/ 1 w 121"/>
                <a:gd name="T5" fmla="*/ 120 h 124"/>
                <a:gd name="T6" fmla="*/ 0 w 121"/>
                <a:gd name="T7" fmla="*/ 124 h 124"/>
                <a:gd name="T8" fmla="*/ 4 w 121"/>
                <a:gd name="T9" fmla="*/ 123 h 124"/>
                <a:gd name="T10" fmla="*/ 104 w 121"/>
                <a:gd name="T11" fmla="*/ 79 h 124"/>
                <a:gd name="T12" fmla="*/ 104 w 121"/>
                <a:gd name="T13" fmla="*/ 79 h 124"/>
                <a:gd name="T14" fmla="*/ 100 w 121"/>
                <a:gd name="T15" fmla="*/ 12 h 124"/>
                <a:gd name="T16" fmla="*/ 68 w 121"/>
                <a:gd name="T1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24">
                  <a:moveTo>
                    <a:pt x="68" y="0"/>
                  </a:moveTo>
                  <a:cubicBezTo>
                    <a:pt x="55" y="0"/>
                    <a:pt x="42" y="5"/>
                    <a:pt x="32" y="16"/>
                  </a:cubicBezTo>
                  <a:cubicBezTo>
                    <a:pt x="17" y="33"/>
                    <a:pt x="5" y="101"/>
                    <a:pt x="1" y="120"/>
                  </a:cubicBezTo>
                  <a:cubicBezTo>
                    <a:pt x="1" y="123"/>
                    <a:pt x="0" y="124"/>
                    <a:pt x="0" y="124"/>
                  </a:cubicBezTo>
                  <a:cubicBezTo>
                    <a:pt x="0" y="124"/>
                    <a:pt x="2" y="124"/>
                    <a:pt x="4" y="123"/>
                  </a:cubicBezTo>
                  <a:cubicBezTo>
                    <a:pt x="22" y="118"/>
                    <a:pt x="89" y="96"/>
                    <a:pt x="104" y="79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21" y="59"/>
                    <a:pt x="119" y="29"/>
                    <a:pt x="100" y="12"/>
                  </a:cubicBezTo>
                  <a:cubicBezTo>
                    <a:pt x="91" y="4"/>
                    <a:pt x="79" y="0"/>
                    <a:pt x="68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ṥḷíḋe">
              <a:extLst>
                <a:ext uri="{FF2B5EF4-FFF2-40B4-BE49-F238E27FC236}">
                  <a16:creationId xmlns:a16="http://schemas.microsoft.com/office/drawing/2014/main" id="{A8C543B5-0993-4831-A2DC-9C2072CF6B1C}"/>
                </a:ext>
              </a:extLst>
            </p:cNvPr>
            <p:cNvSpPr/>
            <p:nvPr/>
          </p:nvSpPr>
          <p:spPr bwMode="auto">
            <a:xfrm>
              <a:off x="4583113" y="2522538"/>
              <a:ext cx="147638" cy="185738"/>
            </a:xfrm>
            <a:custGeom>
              <a:avLst/>
              <a:gdLst>
                <a:gd name="T0" fmla="*/ 53 w 108"/>
                <a:gd name="T1" fmla="*/ 0 h 135"/>
                <a:gd name="T2" fmla="*/ 13 w 108"/>
                <a:gd name="T3" fmla="*/ 22 h 135"/>
                <a:gd name="T4" fmla="*/ 12 w 108"/>
                <a:gd name="T5" fmla="*/ 23 h 135"/>
                <a:gd name="T6" fmla="*/ 12 w 108"/>
                <a:gd name="T7" fmla="*/ 23 h 135"/>
                <a:gd name="T8" fmla="*/ 0 w 108"/>
                <a:gd name="T9" fmla="*/ 109 h 135"/>
                <a:gd name="T10" fmla="*/ 0 w 108"/>
                <a:gd name="T11" fmla="*/ 109 h 135"/>
                <a:gd name="T12" fmla="*/ 0 w 108"/>
                <a:gd name="T13" fmla="*/ 117 h 135"/>
                <a:gd name="T14" fmla="*/ 0 w 108"/>
                <a:gd name="T15" fmla="*/ 135 h 135"/>
                <a:gd name="T16" fmla="*/ 5 w 108"/>
                <a:gd name="T17" fmla="*/ 132 h 135"/>
                <a:gd name="T18" fmla="*/ 94 w 108"/>
                <a:gd name="T19" fmla="*/ 72 h 135"/>
                <a:gd name="T20" fmla="*/ 78 w 108"/>
                <a:gd name="T21" fmla="*/ 7 h 135"/>
                <a:gd name="T22" fmla="*/ 53 w 108"/>
                <a:gd name="T2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35">
                  <a:moveTo>
                    <a:pt x="53" y="0"/>
                  </a:moveTo>
                  <a:cubicBezTo>
                    <a:pt x="37" y="0"/>
                    <a:pt x="22" y="8"/>
                    <a:pt x="13" y="22"/>
                  </a:cubicBezTo>
                  <a:cubicBezTo>
                    <a:pt x="13" y="23"/>
                    <a:pt x="13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4" y="39"/>
                    <a:pt x="1" y="81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0" y="114"/>
                    <a:pt x="0" y="117"/>
                  </a:cubicBezTo>
                  <a:cubicBezTo>
                    <a:pt x="0" y="128"/>
                    <a:pt x="0" y="135"/>
                    <a:pt x="0" y="135"/>
                  </a:cubicBezTo>
                  <a:cubicBezTo>
                    <a:pt x="0" y="135"/>
                    <a:pt x="2" y="134"/>
                    <a:pt x="5" y="132"/>
                  </a:cubicBezTo>
                  <a:cubicBezTo>
                    <a:pt x="22" y="123"/>
                    <a:pt x="82" y="91"/>
                    <a:pt x="94" y="72"/>
                  </a:cubicBezTo>
                  <a:cubicBezTo>
                    <a:pt x="108" y="50"/>
                    <a:pt x="101" y="21"/>
                    <a:pt x="78" y="7"/>
                  </a:cubicBezTo>
                  <a:cubicBezTo>
                    <a:pt x="71" y="2"/>
                    <a:pt x="62" y="0"/>
                    <a:pt x="53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ṡ1íḍé">
              <a:extLst>
                <a:ext uri="{FF2B5EF4-FFF2-40B4-BE49-F238E27FC236}">
                  <a16:creationId xmlns:a16="http://schemas.microsoft.com/office/drawing/2014/main" id="{01BD3288-17AA-42DB-A9CE-CFE4D1081DE3}"/>
                </a:ext>
              </a:extLst>
            </p:cNvPr>
            <p:cNvSpPr/>
            <p:nvPr/>
          </p:nvSpPr>
          <p:spPr bwMode="auto">
            <a:xfrm>
              <a:off x="3862388" y="2424113"/>
              <a:ext cx="1068388" cy="1446213"/>
            </a:xfrm>
            <a:custGeom>
              <a:avLst/>
              <a:gdLst>
                <a:gd name="T0" fmla="*/ 108 w 776"/>
                <a:gd name="T1" fmla="*/ 0 h 1052"/>
                <a:gd name="T2" fmla="*/ 776 w 776"/>
                <a:gd name="T3" fmla="*/ 0 h 1052"/>
                <a:gd name="T4" fmla="*/ 748 w 776"/>
                <a:gd name="T5" fmla="*/ 1016 h 1052"/>
                <a:gd name="T6" fmla="*/ 48 w 776"/>
                <a:gd name="T7" fmla="*/ 1016 h 1052"/>
                <a:gd name="T8" fmla="*/ 108 w 776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6" h="1052">
                  <a:moveTo>
                    <a:pt x="108" y="0"/>
                  </a:moveTo>
                  <a:cubicBezTo>
                    <a:pt x="108" y="0"/>
                    <a:pt x="696" y="24"/>
                    <a:pt x="776" y="0"/>
                  </a:cubicBezTo>
                  <a:cubicBezTo>
                    <a:pt x="776" y="0"/>
                    <a:pt x="732" y="984"/>
                    <a:pt x="748" y="1016"/>
                  </a:cubicBezTo>
                  <a:cubicBezTo>
                    <a:pt x="748" y="1016"/>
                    <a:pt x="96" y="1052"/>
                    <a:pt x="48" y="1016"/>
                  </a:cubicBezTo>
                  <a:cubicBezTo>
                    <a:pt x="0" y="980"/>
                    <a:pt x="108" y="0"/>
                    <a:pt x="10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Sḻiḍê">
              <a:extLst>
                <a:ext uri="{FF2B5EF4-FFF2-40B4-BE49-F238E27FC236}">
                  <a16:creationId xmlns:a16="http://schemas.microsoft.com/office/drawing/2014/main" id="{FB5C68F4-355F-4D9A-BD80-C8556297115E}"/>
                </a:ext>
              </a:extLst>
            </p:cNvPr>
            <p:cNvSpPr/>
            <p:nvPr/>
          </p:nvSpPr>
          <p:spPr bwMode="auto">
            <a:xfrm>
              <a:off x="3862388" y="2424113"/>
              <a:ext cx="1068388" cy="1446213"/>
            </a:xfrm>
            <a:custGeom>
              <a:avLst/>
              <a:gdLst>
                <a:gd name="T0" fmla="*/ 108 w 776"/>
                <a:gd name="T1" fmla="*/ 0 h 1052"/>
                <a:gd name="T2" fmla="*/ 776 w 776"/>
                <a:gd name="T3" fmla="*/ 0 h 1052"/>
                <a:gd name="T4" fmla="*/ 748 w 776"/>
                <a:gd name="T5" fmla="*/ 1016 h 1052"/>
                <a:gd name="T6" fmla="*/ 48 w 776"/>
                <a:gd name="T7" fmla="*/ 1016 h 1052"/>
                <a:gd name="T8" fmla="*/ 108 w 776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6" h="1052">
                  <a:moveTo>
                    <a:pt x="108" y="0"/>
                  </a:moveTo>
                  <a:cubicBezTo>
                    <a:pt x="108" y="0"/>
                    <a:pt x="696" y="24"/>
                    <a:pt x="776" y="0"/>
                  </a:cubicBezTo>
                  <a:cubicBezTo>
                    <a:pt x="776" y="0"/>
                    <a:pt x="732" y="984"/>
                    <a:pt x="748" y="1016"/>
                  </a:cubicBezTo>
                  <a:cubicBezTo>
                    <a:pt x="748" y="1016"/>
                    <a:pt x="96" y="1052"/>
                    <a:pt x="48" y="1016"/>
                  </a:cubicBezTo>
                  <a:cubicBezTo>
                    <a:pt x="0" y="980"/>
                    <a:pt x="108" y="0"/>
                    <a:pt x="108" y="0"/>
                  </a:cubicBez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ṣľïḋè">
              <a:extLst>
                <a:ext uri="{FF2B5EF4-FFF2-40B4-BE49-F238E27FC236}">
                  <a16:creationId xmlns:a16="http://schemas.microsoft.com/office/drawing/2014/main" id="{E9C5B18F-9330-4E40-B295-4016E550D3F1}"/>
                </a:ext>
              </a:extLst>
            </p:cNvPr>
            <p:cNvSpPr/>
            <p:nvPr/>
          </p:nvSpPr>
          <p:spPr bwMode="auto">
            <a:xfrm>
              <a:off x="4132263" y="2676525"/>
              <a:ext cx="501650" cy="649288"/>
            </a:xfrm>
            <a:custGeom>
              <a:avLst/>
              <a:gdLst>
                <a:gd name="T0" fmla="*/ 0 w 364"/>
                <a:gd name="T1" fmla="*/ 0 h 472"/>
                <a:gd name="T2" fmla="*/ 364 w 364"/>
                <a:gd name="T3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64" h="472">
                  <a:moveTo>
                    <a:pt x="0" y="0"/>
                  </a:moveTo>
                  <a:cubicBezTo>
                    <a:pt x="0" y="0"/>
                    <a:pt x="272" y="432"/>
                    <a:pt x="364" y="4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šļiḓè">
              <a:extLst>
                <a:ext uri="{FF2B5EF4-FFF2-40B4-BE49-F238E27FC236}">
                  <a16:creationId xmlns:a16="http://schemas.microsoft.com/office/drawing/2014/main" id="{09B1FC6D-C805-42E4-AE6C-0DC38B8D83F8}"/>
                </a:ext>
              </a:extLst>
            </p:cNvPr>
            <p:cNvSpPr/>
            <p:nvPr/>
          </p:nvSpPr>
          <p:spPr bwMode="auto">
            <a:xfrm>
              <a:off x="4132263" y="2676525"/>
              <a:ext cx="501650" cy="649288"/>
            </a:xfrm>
            <a:custGeom>
              <a:avLst/>
              <a:gdLst>
                <a:gd name="T0" fmla="*/ 0 w 364"/>
                <a:gd name="T1" fmla="*/ 0 h 472"/>
                <a:gd name="T2" fmla="*/ 364 w 364"/>
                <a:gd name="T3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64" h="472">
                  <a:moveTo>
                    <a:pt x="0" y="0"/>
                  </a:moveTo>
                  <a:cubicBezTo>
                    <a:pt x="0" y="0"/>
                    <a:pt x="272" y="432"/>
                    <a:pt x="364" y="472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śḷîḓê">
              <a:extLst>
                <a:ext uri="{FF2B5EF4-FFF2-40B4-BE49-F238E27FC236}">
                  <a16:creationId xmlns:a16="http://schemas.microsoft.com/office/drawing/2014/main" id="{5BBF577A-2865-41B4-AD95-59090EEA5898}"/>
                </a:ext>
              </a:extLst>
            </p:cNvPr>
            <p:cNvSpPr/>
            <p:nvPr/>
          </p:nvSpPr>
          <p:spPr bwMode="auto">
            <a:xfrm>
              <a:off x="4221163" y="2676525"/>
              <a:ext cx="412750" cy="627063"/>
            </a:xfrm>
            <a:custGeom>
              <a:avLst/>
              <a:gdLst>
                <a:gd name="T0" fmla="*/ 300 w 300"/>
                <a:gd name="T1" fmla="*/ 0 h 456"/>
                <a:gd name="T2" fmla="*/ 0 w 300"/>
                <a:gd name="T3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0" h="456">
                  <a:moveTo>
                    <a:pt x="300" y="0"/>
                  </a:moveTo>
                  <a:cubicBezTo>
                    <a:pt x="300" y="0"/>
                    <a:pt x="40" y="340"/>
                    <a:pt x="0" y="45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ṣḷïḑe">
              <a:extLst>
                <a:ext uri="{FF2B5EF4-FFF2-40B4-BE49-F238E27FC236}">
                  <a16:creationId xmlns:a16="http://schemas.microsoft.com/office/drawing/2014/main" id="{BA1CFB32-005F-4B02-8EAE-631ED8F13BA1}"/>
                </a:ext>
              </a:extLst>
            </p:cNvPr>
            <p:cNvSpPr/>
            <p:nvPr/>
          </p:nvSpPr>
          <p:spPr bwMode="auto">
            <a:xfrm>
              <a:off x="4221163" y="2676525"/>
              <a:ext cx="412750" cy="627063"/>
            </a:xfrm>
            <a:custGeom>
              <a:avLst/>
              <a:gdLst>
                <a:gd name="T0" fmla="*/ 300 w 300"/>
                <a:gd name="T1" fmla="*/ 0 h 456"/>
                <a:gd name="T2" fmla="*/ 0 w 300"/>
                <a:gd name="T3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0" h="456">
                  <a:moveTo>
                    <a:pt x="300" y="0"/>
                  </a:moveTo>
                  <a:cubicBezTo>
                    <a:pt x="300" y="0"/>
                    <a:pt x="40" y="340"/>
                    <a:pt x="0" y="45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$ḷîḑe">
              <a:extLst>
                <a:ext uri="{FF2B5EF4-FFF2-40B4-BE49-F238E27FC236}">
                  <a16:creationId xmlns:a16="http://schemas.microsoft.com/office/drawing/2014/main" id="{48B0537A-1697-4113-ADB9-A1A2C24CD457}"/>
                </a:ext>
              </a:extLst>
            </p:cNvPr>
            <p:cNvSpPr/>
            <p:nvPr/>
          </p:nvSpPr>
          <p:spPr bwMode="auto">
            <a:xfrm>
              <a:off x="4132263" y="3551238"/>
              <a:ext cx="468313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sḷîḍé">
              <a:extLst>
                <a:ext uri="{FF2B5EF4-FFF2-40B4-BE49-F238E27FC236}">
                  <a16:creationId xmlns:a16="http://schemas.microsoft.com/office/drawing/2014/main" id="{D89DB622-2586-4C0E-B23D-BBF9A5F598D0}"/>
                </a:ext>
              </a:extLst>
            </p:cNvPr>
            <p:cNvSpPr/>
            <p:nvPr/>
          </p:nvSpPr>
          <p:spPr bwMode="auto">
            <a:xfrm>
              <a:off x="4132263" y="3551238"/>
              <a:ext cx="468313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sľídè">
              <a:extLst>
                <a:ext uri="{FF2B5EF4-FFF2-40B4-BE49-F238E27FC236}">
                  <a16:creationId xmlns:a16="http://schemas.microsoft.com/office/drawing/2014/main" id="{29CE85BB-0E95-48A3-923A-7011B566C928}"/>
                </a:ext>
              </a:extLst>
            </p:cNvPr>
            <p:cNvSpPr/>
            <p:nvPr/>
          </p:nvSpPr>
          <p:spPr bwMode="auto">
            <a:xfrm>
              <a:off x="5421313" y="2386013"/>
              <a:ext cx="1030288" cy="1512888"/>
            </a:xfrm>
            <a:custGeom>
              <a:avLst/>
              <a:gdLst>
                <a:gd name="T0" fmla="*/ 80 w 748"/>
                <a:gd name="T1" fmla="*/ 28 h 1101"/>
                <a:gd name="T2" fmla="*/ 748 w 748"/>
                <a:gd name="T3" fmla="*/ 28 h 1101"/>
                <a:gd name="T4" fmla="*/ 720 w 748"/>
                <a:gd name="T5" fmla="*/ 1044 h 1101"/>
                <a:gd name="T6" fmla="*/ 20 w 748"/>
                <a:gd name="T7" fmla="*/ 1044 h 1101"/>
                <a:gd name="T8" fmla="*/ 80 w 748"/>
                <a:gd name="T9" fmla="*/ 2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8" h="1101">
                  <a:moveTo>
                    <a:pt x="80" y="28"/>
                  </a:moveTo>
                  <a:cubicBezTo>
                    <a:pt x="80" y="28"/>
                    <a:pt x="644" y="0"/>
                    <a:pt x="748" y="28"/>
                  </a:cubicBezTo>
                  <a:cubicBezTo>
                    <a:pt x="748" y="28"/>
                    <a:pt x="704" y="1012"/>
                    <a:pt x="720" y="1044"/>
                  </a:cubicBezTo>
                  <a:cubicBezTo>
                    <a:pt x="720" y="1044"/>
                    <a:pt x="0" y="1101"/>
                    <a:pt x="20" y="1044"/>
                  </a:cubicBezTo>
                  <a:cubicBezTo>
                    <a:pt x="64" y="924"/>
                    <a:pt x="80" y="28"/>
                    <a:pt x="80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ṧļîḍe">
              <a:extLst>
                <a:ext uri="{FF2B5EF4-FFF2-40B4-BE49-F238E27FC236}">
                  <a16:creationId xmlns:a16="http://schemas.microsoft.com/office/drawing/2014/main" id="{91456A45-EF17-4F52-8EE4-4A88BFEB00AC}"/>
                </a:ext>
              </a:extLst>
            </p:cNvPr>
            <p:cNvSpPr/>
            <p:nvPr/>
          </p:nvSpPr>
          <p:spPr bwMode="auto">
            <a:xfrm>
              <a:off x="5421313" y="2386013"/>
              <a:ext cx="1030288" cy="1512888"/>
            </a:xfrm>
            <a:custGeom>
              <a:avLst/>
              <a:gdLst>
                <a:gd name="T0" fmla="*/ 80 w 748"/>
                <a:gd name="T1" fmla="*/ 28 h 1101"/>
                <a:gd name="T2" fmla="*/ 748 w 748"/>
                <a:gd name="T3" fmla="*/ 28 h 1101"/>
                <a:gd name="T4" fmla="*/ 720 w 748"/>
                <a:gd name="T5" fmla="*/ 1044 h 1101"/>
                <a:gd name="T6" fmla="*/ 20 w 748"/>
                <a:gd name="T7" fmla="*/ 1044 h 1101"/>
                <a:gd name="T8" fmla="*/ 80 w 748"/>
                <a:gd name="T9" fmla="*/ 2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8" h="1101">
                  <a:moveTo>
                    <a:pt x="80" y="28"/>
                  </a:moveTo>
                  <a:cubicBezTo>
                    <a:pt x="80" y="28"/>
                    <a:pt x="644" y="0"/>
                    <a:pt x="748" y="28"/>
                  </a:cubicBezTo>
                  <a:cubicBezTo>
                    <a:pt x="748" y="28"/>
                    <a:pt x="704" y="1012"/>
                    <a:pt x="720" y="1044"/>
                  </a:cubicBezTo>
                  <a:cubicBezTo>
                    <a:pt x="720" y="1044"/>
                    <a:pt x="0" y="1101"/>
                    <a:pt x="20" y="1044"/>
                  </a:cubicBezTo>
                  <a:cubicBezTo>
                    <a:pt x="64" y="924"/>
                    <a:pt x="80" y="28"/>
                    <a:pt x="80" y="28"/>
                  </a:cubicBez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ŝľidé">
              <a:extLst>
                <a:ext uri="{FF2B5EF4-FFF2-40B4-BE49-F238E27FC236}">
                  <a16:creationId xmlns:a16="http://schemas.microsoft.com/office/drawing/2014/main" id="{4E509692-68CE-4A3B-B59A-8BE54BB1AAE7}"/>
                </a:ext>
              </a:extLst>
            </p:cNvPr>
            <p:cNvSpPr/>
            <p:nvPr/>
          </p:nvSpPr>
          <p:spPr bwMode="auto">
            <a:xfrm>
              <a:off x="5834063" y="2528888"/>
              <a:ext cx="231775" cy="298450"/>
            </a:xfrm>
            <a:custGeom>
              <a:avLst/>
              <a:gdLst>
                <a:gd name="T0" fmla="*/ 0 w 168"/>
                <a:gd name="T1" fmla="*/ 0 h 217"/>
                <a:gd name="T2" fmla="*/ 168 w 168"/>
                <a:gd name="T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217">
                  <a:moveTo>
                    <a:pt x="0" y="0"/>
                  </a:moveTo>
                  <a:cubicBezTo>
                    <a:pt x="0" y="0"/>
                    <a:pt x="126" y="199"/>
                    <a:pt x="168" y="2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ṩḻíḋê">
              <a:extLst>
                <a:ext uri="{FF2B5EF4-FFF2-40B4-BE49-F238E27FC236}">
                  <a16:creationId xmlns:a16="http://schemas.microsoft.com/office/drawing/2014/main" id="{AAD0A279-5297-4A54-B2D6-70B4F43E2F8F}"/>
                </a:ext>
              </a:extLst>
            </p:cNvPr>
            <p:cNvSpPr/>
            <p:nvPr/>
          </p:nvSpPr>
          <p:spPr bwMode="auto">
            <a:xfrm>
              <a:off x="5834063" y="2528888"/>
              <a:ext cx="231775" cy="298450"/>
            </a:xfrm>
            <a:custGeom>
              <a:avLst/>
              <a:gdLst>
                <a:gd name="T0" fmla="*/ 0 w 168"/>
                <a:gd name="T1" fmla="*/ 0 h 217"/>
                <a:gd name="T2" fmla="*/ 168 w 168"/>
                <a:gd name="T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217">
                  <a:moveTo>
                    <a:pt x="0" y="0"/>
                  </a:moveTo>
                  <a:cubicBezTo>
                    <a:pt x="0" y="0"/>
                    <a:pt x="126" y="199"/>
                    <a:pt x="168" y="217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ṣlîḑé">
              <a:extLst>
                <a:ext uri="{FF2B5EF4-FFF2-40B4-BE49-F238E27FC236}">
                  <a16:creationId xmlns:a16="http://schemas.microsoft.com/office/drawing/2014/main" id="{13CDB489-504A-426E-AB96-9078CCFC8098}"/>
                </a:ext>
              </a:extLst>
            </p:cNvPr>
            <p:cNvSpPr/>
            <p:nvPr/>
          </p:nvSpPr>
          <p:spPr bwMode="auto">
            <a:xfrm>
              <a:off x="5875338" y="2528888"/>
              <a:ext cx="190500" cy="288925"/>
            </a:xfrm>
            <a:custGeom>
              <a:avLst/>
              <a:gdLst>
                <a:gd name="T0" fmla="*/ 138 w 138"/>
                <a:gd name="T1" fmla="*/ 0 h 210"/>
                <a:gd name="T2" fmla="*/ 0 w 138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8" h="210">
                  <a:moveTo>
                    <a:pt x="138" y="0"/>
                  </a:moveTo>
                  <a:cubicBezTo>
                    <a:pt x="138" y="0"/>
                    <a:pt x="18" y="156"/>
                    <a:pt x="0" y="2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ṩḻiďé">
              <a:extLst>
                <a:ext uri="{FF2B5EF4-FFF2-40B4-BE49-F238E27FC236}">
                  <a16:creationId xmlns:a16="http://schemas.microsoft.com/office/drawing/2014/main" id="{F199E8FF-6F6E-4729-9A6C-109F7166D483}"/>
                </a:ext>
              </a:extLst>
            </p:cNvPr>
            <p:cNvSpPr/>
            <p:nvPr/>
          </p:nvSpPr>
          <p:spPr bwMode="auto">
            <a:xfrm>
              <a:off x="5875338" y="2528888"/>
              <a:ext cx="190500" cy="288925"/>
            </a:xfrm>
            <a:custGeom>
              <a:avLst/>
              <a:gdLst>
                <a:gd name="T0" fmla="*/ 138 w 138"/>
                <a:gd name="T1" fmla="*/ 0 h 210"/>
                <a:gd name="T2" fmla="*/ 0 w 138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8" h="210">
                  <a:moveTo>
                    <a:pt x="138" y="0"/>
                  </a:moveTo>
                  <a:cubicBezTo>
                    <a:pt x="138" y="0"/>
                    <a:pt x="18" y="156"/>
                    <a:pt x="0" y="210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ṩļídê">
              <a:extLst>
                <a:ext uri="{FF2B5EF4-FFF2-40B4-BE49-F238E27FC236}">
                  <a16:creationId xmlns:a16="http://schemas.microsoft.com/office/drawing/2014/main" id="{5345C896-A927-4F1B-A631-72327956EB62}"/>
                </a:ext>
              </a:extLst>
            </p:cNvPr>
            <p:cNvSpPr/>
            <p:nvPr/>
          </p:nvSpPr>
          <p:spPr bwMode="auto">
            <a:xfrm>
              <a:off x="5634038" y="3001963"/>
              <a:ext cx="628650" cy="153988"/>
            </a:xfrm>
            <a:custGeom>
              <a:avLst/>
              <a:gdLst>
                <a:gd name="T0" fmla="*/ 456 w 456"/>
                <a:gd name="T1" fmla="*/ 0 h 112"/>
                <a:gd name="T2" fmla="*/ 32 w 456"/>
                <a:gd name="T3" fmla="*/ 0 h 112"/>
                <a:gd name="T4" fmla="*/ 0 w 456"/>
                <a:gd name="T5" fmla="*/ 112 h 112"/>
                <a:gd name="T6" fmla="*/ 456 w 456"/>
                <a:gd name="T7" fmla="*/ 112 h 112"/>
                <a:gd name="T8" fmla="*/ 456 w 456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112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456" y="112"/>
                    <a:pt x="456" y="112"/>
                    <a:pt x="456" y="112"/>
                  </a:cubicBezTo>
                  <a:lnTo>
                    <a:pt x="45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šḷîḓê">
              <a:extLst>
                <a:ext uri="{FF2B5EF4-FFF2-40B4-BE49-F238E27FC236}">
                  <a16:creationId xmlns:a16="http://schemas.microsoft.com/office/drawing/2014/main" id="{5E81A00A-BBA1-41BE-A7B3-22794D77AE0A}"/>
                </a:ext>
              </a:extLst>
            </p:cNvPr>
            <p:cNvSpPr/>
            <p:nvPr/>
          </p:nvSpPr>
          <p:spPr bwMode="auto">
            <a:xfrm>
              <a:off x="5634038" y="3001963"/>
              <a:ext cx="628650" cy="153988"/>
            </a:xfrm>
            <a:custGeom>
              <a:avLst/>
              <a:gdLst>
                <a:gd name="T0" fmla="*/ 456 w 456"/>
                <a:gd name="T1" fmla="*/ 0 h 112"/>
                <a:gd name="T2" fmla="*/ 32 w 456"/>
                <a:gd name="T3" fmla="*/ 0 h 112"/>
                <a:gd name="T4" fmla="*/ 0 w 456"/>
                <a:gd name="T5" fmla="*/ 112 h 112"/>
                <a:gd name="T6" fmla="*/ 456 w 456"/>
                <a:gd name="T7" fmla="*/ 112 h 112"/>
                <a:gd name="T8" fmla="*/ 456 w 456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112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456" y="112"/>
                    <a:pt x="456" y="112"/>
                    <a:pt x="456" y="112"/>
                  </a:cubicBezTo>
                  <a:lnTo>
                    <a:pt x="456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ṡ1iḍê">
              <a:extLst>
                <a:ext uri="{FF2B5EF4-FFF2-40B4-BE49-F238E27FC236}">
                  <a16:creationId xmlns:a16="http://schemas.microsoft.com/office/drawing/2014/main" id="{68973C7F-9A2C-49FA-B3B3-4C8D7D125D0F}"/>
                </a:ext>
              </a:extLst>
            </p:cNvPr>
            <p:cNvSpPr/>
            <p:nvPr/>
          </p:nvSpPr>
          <p:spPr bwMode="auto">
            <a:xfrm>
              <a:off x="5716588" y="3490913"/>
              <a:ext cx="466725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ṡḷídè">
              <a:extLst>
                <a:ext uri="{FF2B5EF4-FFF2-40B4-BE49-F238E27FC236}">
                  <a16:creationId xmlns:a16="http://schemas.microsoft.com/office/drawing/2014/main" id="{91062480-4439-48AE-B375-B5B868137148}"/>
                </a:ext>
              </a:extLst>
            </p:cNvPr>
            <p:cNvSpPr/>
            <p:nvPr/>
          </p:nvSpPr>
          <p:spPr bwMode="auto">
            <a:xfrm>
              <a:off x="5716588" y="3490913"/>
              <a:ext cx="466725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lidê">
              <a:extLst>
                <a:ext uri="{FF2B5EF4-FFF2-40B4-BE49-F238E27FC236}">
                  <a16:creationId xmlns:a16="http://schemas.microsoft.com/office/drawing/2014/main" id="{AFD0CD11-6B4C-44B6-9171-70B4EFA0BFA2}"/>
                </a:ext>
              </a:extLst>
            </p:cNvPr>
            <p:cNvSpPr/>
            <p:nvPr/>
          </p:nvSpPr>
          <p:spPr bwMode="auto">
            <a:xfrm>
              <a:off x="5634038" y="3201988"/>
              <a:ext cx="674688" cy="179388"/>
            </a:xfrm>
            <a:custGeom>
              <a:avLst/>
              <a:gdLst>
                <a:gd name="T0" fmla="*/ 456 w 489"/>
                <a:gd name="T1" fmla="*/ 18 h 130"/>
                <a:gd name="T2" fmla="*/ 32 w 489"/>
                <a:gd name="T3" fmla="*/ 18 h 130"/>
                <a:gd name="T4" fmla="*/ 0 w 489"/>
                <a:gd name="T5" fmla="*/ 130 h 130"/>
                <a:gd name="T6" fmla="*/ 456 w 489"/>
                <a:gd name="T7" fmla="*/ 130 h 130"/>
                <a:gd name="T8" fmla="*/ 456 w 489"/>
                <a:gd name="T9" fmla="*/ 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130">
                  <a:moveTo>
                    <a:pt x="456" y="18"/>
                  </a:moveTo>
                  <a:cubicBezTo>
                    <a:pt x="489" y="18"/>
                    <a:pt x="70" y="54"/>
                    <a:pt x="32" y="18"/>
                  </a:cubicBezTo>
                  <a:cubicBezTo>
                    <a:pt x="13" y="0"/>
                    <a:pt x="0" y="130"/>
                    <a:pt x="0" y="130"/>
                  </a:cubicBezTo>
                  <a:cubicBezTo>
                    <a:pt x="456" y="130"/>
                    <a:pt x="456" y="130"/>
                    <a:pt x="456" y="130"/>
                  </a:cubicBezTo>
                  <a:lnTo>
                    <a:pt x="456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šḷîḑé">
              <a:extLst>
                <a:ext uri="{FF2B5EF4-FFF2-40B4-BE49-F238E27FC236}">
                  <a16:creationId xmlns:a16="http://schemas.microsoft.com/office/drawing/2014/main" id="{FC4EF942-6801-41B8-8BCF-24F8BB170DBA}"/>
                </a:ext>
              </a:extLst>
            </p:cNvPr>
            <p:cNvSpPr/>
            <p:nvPr/>
          </p:nvSpPr>
          <p:spPr bwMode="auto">
            <a:xfrm>
              <a:off x="5634038" y="3201988"/>
              <a:ext cx="674688" cy="179388"/>
            </a:xfrm>
            <a:custGeom>
              <a:avLst/>
              <a:gdLst>
                <a:gd name="T0" fmla="*/ 456 w 489"/>
                <a:gd name="T1" fmla="*/ 18 h 130"/>
                <a:gd name="T2" fmla="*/ 32 w 489"/>
                <a:gd name="T3" fmla="*/ 18 h 130"/>
                <a:gd name="T4" fmla="*/ 0 w 489"/>
                <a:gd name="T5" fmla="*/ 130 h 130"/>
                <a:gd name="T6" fmla="*/ 456 w 489"/>
                <a:gd name="T7" fmla="*/ 130 h 130"/>
                <a:gd name="T8" fmla="*/ 456 w 489"/>
                <a:gd name="T9" fmla="*/ 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130">
                  <a:moveTo>
                    <a:pt x="456" y="18"/>
                  </a:moveTo>
                  <a:cubicBezTo>
                    <a:pt x="489" y="18"/>
                    <a:pt x="70" y="54"/>
                    <a:pt x="32" y="18"/>
                  </a:cubicBezTo>
                  <a:cubicBezTo>
                    <a:pt x="13" y="0"/>
                    <a:pt x="0" y="130"/>
                    <a:pt x="0" y="130"/>
                  </a:cubicBezTo>
                  <a:cubicBezTo>
                    <a:pt x="456" y="130"/>
                    <a:pt x="456" y="130"/>
                    <a:pt x="456" y="130"/>
                  </a:cubicBezTo>
                  <a:lnTo>
                    <a:pt x="456" y="18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ṣliďè">
              <a:extLst>
                <a:ext uri="{FF2B5EF4-FFF2-40B4-BE49-F238E27FC236}">
                  <a16:creationId xmlns:a16="http://schemas.microsoft.com/office/drawing/2014/main" id="{4201A6FE-621A-49FF-AFCB-2BF33BF26813}"/>
                </a:ext>
              </a:extLst>
            </p:cNvPr>
            <p:cNvSpPr/>
            <p:nvPr/>
          </p:nvSpPr>
          <p:spPr bwMode="auto">
            <a:xfrm>
              <a:off x="5892800" y="3516313"/>
              <a:ext cx="93663" cy="82550"/>
            </a:xfrm>
            <a:custGeom>
              <a:avLst/>
              <a:gdLst>
                <a:gd name="T0" fmla="*/ 0 w 59"/>
                <a:gd name="T1" fmla="*/ 31 h 52"/>
                <a:gd name="T2" fmla="*/ 20 w 59"/>
                <a:gd name="T3" fmla="*/ 52 h 52"/>
                <a:gd name="T4" fmla="*/ 59 w 59"/>
                <a:gd name="T5" fmla="*/ 0 h 52"/>
                <a:gd name="T6" fmla="*/ 0 w 59"/>
                <a:gd name="T7" fmla="*/ 3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52">
                  <a:moveTo>
                    <a:pt x="0" y="31"/>
                  </a:moveTo>
                  <a:lnTo>
                    <a:pt x="20" y="52"/>
                  </a:lnTo>
                  <a:lnTo>
                    <a:pt x="59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ḻîďe">
              <a:extLst>
                <a:ext uri="{FF2B5EF4-FFF2-40B4-BE49-F238E27FC236}">
                  <a16:creationId xmlns:a16="http://schemas.microsoft.com/office/drawing/2014/main" id="{DAF7AE66-1961-4E4B-B1E3-31F6D0739147}"/>
                </a:ext>
              </a:extLst>
            </p:cNvPr>
            <p:cNvSpPr/>
            <p:nvPr/>
          </p:nvSpPr>
          <p:spPr bwMode="auto">
            <a:xfrm>
              <a:off x="5892800" y="3516313"/>
              <a:ext cx="93663" cy="82550"/>
            </a:xfrm>
            <a:custGeom>
              <a:avLst/>
              <a:gdLst>
                <a:gd name="T0" fmla="*/ 0 w 59"/>
                <a:gd name="T1" fmla="*/ 31 h 52"/>
                <a:gd name="T2" fmla="*/ 20 w 59"/>
                <a:gd name="T3" fmla="*/ 52 h 52"/>
                <a:gd name="T4" fmla="*/ 59 w 59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52">
                  <a:moveTo>
                    <a:pt x="0" y="31"/>
                  </a:moveTo>
                  <a:lnTo>
                    <a:pt x="20" y="52"/>
                  </a:lnTo>
                  <a:lnTo>
                    <a:pt x="5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ṥ1iḍé">
              <a:extLst>
                <a:ext uri="{FF2B5EF4-FFF2-40B4-BE49-F238E27FC236}">
                  <a16:creationId xmlns:a16="http://schemas.microsoft.com/office/drawing/2014/main" id="{F87574C2-6D49-461C-8043-3FE6B2EB5EA4}"/>
                </a:ext>
              </a:extLst>
            </p:cNvPr>
            <p:cNvSpPr/>
            <p:nvPr/>
          </p:nvSpPr>
          <p:spPr bwMode="auto">
            <a:xfrm>
              <a:off x="5892800" y="3516313"/>
              <a:ext cx="93663" cy="82550"/>
            </a:xfrm>
            <a:custGeom>
              <a:avLst/>
              <a:gdLst>
                <a:gd name="T0" fmla="*/ 0 w 59"/>
                <a:gd name="T1" fmla="*/ 31 h 52"/>
                <a:gd name="T2" fmla="*/ 20 w 59"/>
                <a:gd name="T3" fmla="*/ 52 h 52"/>
                <a:gd name="T4" fmla="*/ 59 w 59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52">
                  <a:moveTo>
                    <a:pt x="0" y="31"/>
                  </a:moveTo>
                  <a:lnTo>
                    <a:pt x="20" y="52"/>
                  </a:lnTo>
                  <a:lnTo>
                    <a:pt x="59" y="0"/>
                  </a:ln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ľiḍe">
              <a:extLst>
                <a:ext uri="{FF2B5EF4-FFF2-40B4-BE49-F238E27FC236}">
                  <a16:creationId xmlns:a16="http://schemas.microsoft.com/office/drawing/2014/main" id="{0CB651BE-83E2-4416-9475-857118DBF3F7}"/>
                </a:ext>
              </a:extLst>
            </p:cNvPr>
            <p:cNvSpPr/>
            <p:nvPr/>
          </p:nvSpPr>
          <p:spPr bwMode="auto">
            <a:xfrm>
              <a:off x="6870700" y="2435225"/>
              <a:ext cx="1062038" cy="1454150"/>
            </a:xfrm>
            <a:custGeom>
              <a:avLst/>
              <a:gdLst>
                <a:gd name="T0" fmla="*/ 103 w 771"/>
                <a:gd name="T1" fmla="*/ 0 h 1058"/>
                <a:gd name="T2" fmla="*/ 771 w 771"/>
                <a:gd name="T3" fmla="*/ 0 h 1058"/>
                <a:gd name="T4" fmla="*/ 743 w 771"/>
                <a:gd name="T5" fmla="*/ 1016 h 1058"/>
                <a:gd name="T6" fmla="*/ 43 w 771"/>
                <a:gd name="T7" fmla="*/ 1016 h 1058"/>
                <a:gd name="T8" fmla="*/ 103 w 771"/>
                <a:gd name="T9" fmla="*/ 0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1" h="1058">
                  <a:moveTo>
                    <a:pt x="103" y="0"/>
                  </a:moveTo>
                  <a:cubicBezTo>
                    <a:pt x="103" y="0"/>
                    <a:pt x="663" y="68"/>
                    <a:pt x="771" y="0"/>
                  </a:cubicBezTo>
                  <a:cubicBezTo>
                    <a:pt x="771" y="0"/>
                    <a:pt x="727" y="984"/>
                    <a:pt x="743" y="1016"/>
                  </a:cubicBezTo>
                  <a:cubicBezTo>
                    <a:pt x="743" y="1016"/>
                    <a:pt x="0" y="1058"/>
                    <a:pt x="43" y="1016"/>
                  </a:cubicBezTo>
                  <a:cubicBezTo>
                    <a:pt x="151" y="912"/>
                    <a:pt x="103" y="0"/>
                    <a:pt x="10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ṩḷïḑê">
              <a:extLst>
                <a:ext uri="{FF2B5EF4-FFF2-40B4-BE49-F238E27FC236}">
                  <a16:creationId xmlns:a16="http://schemas.microsoft.com/office/drawing/2014/main" id="{90034921-7699-4069-BF49-1D68D2E232D5}"/>
                </a:ext>
              </a:extLst>
            </p:cNvPr>
            <p:cNvSpPr/>
            <p:nvPr/>
          </p:nvSpPr>
          <p:spPr bwMode="auto">
            <a:xfrm>
              <a:off x="6921500" y="2419350"/>
              <a:ext cx="1020763" cy="1446213"/>
            </a:xfrm>
            <a:custGeom>
              <a:avLst/>
              <a:gdLst>
                <a:gd name="T0" fmla="*/ 67 w 742"/>
                <a:gd name="T1" fmla="*/ 17 h 1052"/>
                <a:gd name="T2" fmla="*/ 649 w 742"/>
                <a:gd name="T3" fmla="*/ 41 h 1052"/>
                <a:gd name="T4" fmla="*/ 739 w 742"/>
                <a:gd name="T5" fmla="*/ 17 h 1052"/>
                <a:gd name="T6" fmla="*/ 729 w 742"/>
                <a:gd name="T7" fmla="*/ 11 h 1052"/>
                <a:gd name="T8" fmla="*/ 698 w 742"/>
                <a:gd name="T9" fmla="*/ 952 h 1052"/>
                <a:gd name="T10" fmla="*/ 700 w 742"/>
                <a:gd name="T11" fmla="*/ 1020 h 1052"/>
                <a:gd name="T12" fmla="*/ 702 w 742"/>
                <a:gd name="T13" fmla="*/ 1030 h 1052"/>
                <a:gd name="T14" fmla="*/ 707 w 742"/>
                <a:gd name="T15" fmla="*/ 1021 h 1052"/>
                <a:gd name="T16" fmla="*/ 170 w 742"/>
                <a:gd name="T17" fmla="*/ 1040 h 1052"/>
                <a:gd name="T18" fmla="*/ 19 w 742"/>
                <a:gd name="T19" fmla="*/ 1032 h 1052"/>
                <a:gd name="T20" fmla="*/ 11 w 742"/>
                <a:gd name="T21" fmla="*/ 1029 h 1052"/>
                <a:gd name="T22" fmla="*/ 11 w 742"/>
                <a:gd name="T23" fmla="*/ 1029 h 1052"/>
                <a:gd name="T24" fmla="*/ 11 w 742"/>
                <a:gd name="T25" fmla="*/ 1030 h 1052"/>
                <a:gd name="T26" fmla="*/ 10 w 742"/>
                <a:gd name="T27" fmla="*/ 1030 h 1052"/>
                <a:gd name="T28" fmla="*/ 8 w 742"/>
                <a:gd name="T29" fmla="*/ 1031 h 1052"/>
                <a:gd name="T30" fmla="*/ 11 w 742"/>
                <a:gd name="T31" fmla="*/ 1030 h 1052"/>
                <a:gd name="T32" fmla="*/ 12 w 742"/>
                <a:gd name="T33" fmla="*/ 1031 h 1052"/>
                <a:gd name="T34" fmla="*/ 11 w 742"/>
                <a:gd name="T35" fmla="*/ 1032 h 1052"/>
                <a:gd name="T36" fmla="*/ 9 w 742"/>
                <a:gd name="T37" fmla="*/ 1031 h 1052"/>
                <a:gd name="T38" fmla="*/ 11 w 742"/>
                <a:gd name="T39" fmla="*/ 1032 h 1052"/>
                <a:gd name="T40" fmla="*/ 11 w 742"/>
                <a:gd name="T41" fmla="*/ 1032 h 1052"/>
                <a:gd name="T42" fmla="*/ 11 w 742"/>
                <a:gd name="T43" fmla="*/ 1032 h 1052"/>
                <a:gd name="T44" fmla="*/ 32 w 742"/>
                <a:gd name="T45" fmla="*/ 999 h 1052"/>
                <a:gd name="T46" fmla="*/ 84 w 742"/>
                <a:gd name="T47" fmla="*/ 438 h 1052"/>
                <a:gd name="T48" fmla="*/ 67 w 742"/>
                <a:gd name="T49" fmla="*/ 11 h 1052"/>
                <a:gd name="T50" fmla="*/ 67 w 742"/>
                <a:gd name="T51" fmla="*/ 11 h 1052"/>
                <a:gd name="T52" fmla="*/ 62 w 742"/>
                <a:gd name="T53" fmla="*/ 21 h 1052"/>
                <a:gd name="T54" fmla="*/ 58 w 742"/>
                <a:gd name="T55" fmla="*/ 806 h 1052"/>
                <a:gd name="T56" fmla="*/ 21 w 742"/>
                <a:gd name="T57" fmla="*/ 994 h 1052"/>
                <a:gd name="T58" fmla="*/ 1 w 742"/>
                <a:gd name="T59" fmla="*/ 1026 h 1052"/>
                <a:gd name="T60" fmla="*/ 2 w 742"/>
                <a:gd name="T61" fmla="*/ 1037 h 1052"/>
                <a:gd name="T62" fmla="*/ 15 w 742"/>
                <a:gd name="T63" fmla="*/ 1043 h 1052"/>
                <a:gd name="T64" fmla="*/ 170 w 742"/>
                <a:gd name="T65" fmla="*/ 1052 h 1052"/>
                <a:gd name="T66" fmla="*/ 717 w 742"/>
                <a:gd name="T67" fmla="*/ 1033 h 1052"/>
                <a:gd name="T68" fmla="*/ 712 w 742"/>
                <a:gd name="T69" fmla="*/ 1025 h 1052"/>
                <a:gd name="T70" fmla="*/ 713 w 742"/>
                <a:gd name="T71" fmla="*/ 1025 h 1052"/>
                <a:gd name="T72" fmla="*/ 713 w 742"/>
                <a:gd name="T73" fmla="*/ 1025 h 1052"/>
                <a:gd name="T74" fmla="*/ 712 w 742"/>
                <a:gd name="T75" fmla="*/ 1022 h 1052"/>
                <a:gd name="T76" fmla="*/ 710 w 742"/>
                <a:gd name="T77" fmla="*/ 952 h 1052"/>
                <a:gd name="T78" fmla="*/ 737 w 742"/>
                <a:gd name="T79" fmla="*/ 126 h 1052"/>
                <a:gd name="T80" fmla="*/ 741 w 742"/>
                <a:gd name="T81" fmla="*/ 20 h 1052"/>
                <a:gd name="T82" fmla="*/ 742 w 742"/>
                <a:gd name="T83" fmla="*/ 0 h 1052"/>
                <a:gd name="T84" fmla="*/ 698 w 742"/>
                <a:gd name="T85" fmla="*/ 20 h 1052"/>
                <a:gd name="T86" fmla="*/ 514 w 742"/>
                <a:gd name="T87" fmla="*/ 36 h 1052"/>
                <a:gd name="T88" fmla="*/ 110 w 742"/>
                <a:gd name="T89" fmla="*/ 10 h 1052"/>
                <a:gd name="T90" fmla="*/ 68 w 742"/>
                <a:gd name="T91" fmla="*/ 6 h 1052"/>
                <a:gd name="T92" fmla="*/ 61 w 742"/>
                <a:gd name="T93" fmla="*/ 12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42" h="1052">
                  <a:moveTo>
                    <a:pt x="67" y="11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316" y="48"/>
                    <a:pt x="514" y="48"/>
                  </a:cubicBezTo>
                  <a:cubicBezTo>
                    <a:pt x="564" y="48"/>
                    <a:pt x="610" y="46"/>
                    <a:pt x="649" y="41"/>
                  </a:cubicBezTo>
                  <a:cubicBezTo>
                    <a:pt x="669" y="39"/>
                    <a:pt x="686" y="36"/>
                    <a:pt x="701" y="32"/>
                  </a:cubicBezTo>
                  <a:cubicBezTo>
                    <a:pt x="716" y="28"/>
                    <a:pt x="729" y="23"/>
                    <a:pt x="739" y="17"/>
                  </a:cubicBezTo>
                  <a:cubicBezTo>
                    <a:pt x="735" y="11"/>
                    <a:pt x="735" y="11"/>
                    <a:pt x="735" y="11"/>
                  </a:cubicBezTo>
                  <a:cubicBezTo>
                    <a:pt x="729" y="11"/>
                    <a:pt x="729" y="11"/>
                    <a:pt x="729" y="11"/>
                  </a:cubicBezTo>
                  <a:cubicBezTo>
                    <a:pt x="729" y="11"/>
                    <a:pt x="722" y="187"/>
                    <a:pt x="714" y="393"/>
                  </a:cubicBezTo>
                  <a:cubicBezTo>
                    <a:pt x="706" y="599"/>
                    <a:pt x="698" y="834"/>
                    <a:pt x="698" y="952"/>
                  </a:cubicBezTo>
                  <a:cubicBezTo>
                    <a:pt x="698" y="974"/>
                    <a:pt x="698" y="991"/>
                    <a:pt x="699" y="1004"/>
                  </a:cubicBezTo>
                  <a:cubicBezTo>
                    <a:pt x="699" y="1011"/>
                    <a:pt x="699" y="1016"/>
                    <a:pt x="700" y="1020"/>
                  </a:cubicBezTo>
                  <a:cubicBezTo>
                    <a:pt x="700" y="1022"/>
                    <a:pt x="700" y="1024"/>
                    <a:pt x="701" y="1026"/>
                  </a:cubicBezTo>
                  <a:cubicBezTo>
                    <a:pt x="701" y="1027"/>
                    <a:pt x="701" y="1029"/>
                    <a:pt x="702" y="1030"/>
                  </a:cubicBezTo>
                  <a:cubicBezTo>
                    <a:pt x="707" y="1027"/>
                    <a:pt x="707" y="1027"/>
                    <a:pt x="707" y="1027"/>
                  </a:cubicBezTo>
                  <a:cubicBezTo>
                    <a:pt x="707" y="1021"/>
                    <a:pt x="707" y="1021"/>
                    <a:pt x="707" y="1021"/>
                  </a:cubicBezTo>
                  <a:cubicBezTo>
                    <a:pt x="707" y="1021"/>
                    <a:pt x="702" y="1022"/>
                    <a:pt x="693" y="1022"/>
                  </a:cubicBezTo>
                  <a:cubicBezTo>
                    <a:pt x="627" y="1026"/>
                    <a:pt x="351" y="1040"/>
                    <a:pt x="170" y="1040"/>
                  </a:cubicBezTo>
                  <a:cubicBezTo>
                    <a:pt x="122" y="1040"/>
                    <a:pt x="81" y="1039"/>
                    <a:pt x="53" y="1037"/>
                  </a:cubicBezTo>
                  <a:cubicBezTo>
                    <a:pt x="38" y="1035"/>
                    <a:pt x="27" y="1034"/>
                    <a:pt x="19" y="1032"/>
                  </a:cubicBezTo>
                  <a:cubicBezTo>
                    <a:pt x="16" y="1031"/>
                    <a:pt x="13" y="1030"/>
                    <a:pt x="12" y="1029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0" y="1030"/>
                    <a:pt x="10" y="1030"/>
                    <a:pt x="10" y="1030"/>
                  </a:cubicBezTo>
                  <a:cubicBezTo>
                    <a:pt x="11" y="1030"/>
                    <a:pt x="11" y="1030"/>
                    <a:pt x="11" y="1030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0" y="1030"/>
                    <a:pt x="10" y="1030"/>
                    <a:pt x="10" y="1030"/>
                  </a:cubicBezTo>
                  <a:cubicBezTo>
                    <a:pt x="11" y="1030"/>
                    <a:pt x="11" y="1030"/>
                    <a:pt x="11" y="1030"/>
                  </a:cubicBezTo>
                  <a:cubicBezTo>
                    <a:pt x="8" y="1031"/>
                    <a:pt x="8" y="1031"/>
                    <a:pt x="8" y="1031"/>
                  </a:cubicBezTo>
                  <a:cubicBezTo>
                    <a:pt x="12" y="1031"/>
                    <a:pt x="12" y="1031"/>
                    <a:pt x="12" y="1031"/>
                  </a:cubicBezTo>
                  <a:cubicBezTo>
                    <a:pt x="12" y="1030"/>
                    <a:pt x="12" y="1030"/>
                    <a:pt x="11" y="1030"/>
                  </a:cubicBezTo>
                  <a:cubicBezTo>
                    <a:pt x="8" y="1031"/>
                    <a:pt x="8" y="1031"/>
                    <a:pt x="8" y="1031"/>
                  </a:cubicBezTo>
                  <a:cubicBezTo>
                    <a:pt x="12" y="1031"/>
                    <a:pt x="12" y="1031"/>
                    <a:pt x="12" y="1031"/>
                  </a:cubicBezTo>
                  <a:cubicBezTo>
                    <a:pt x="9" y="1031"/>
                    <a:pt x="9" y="1031"/>
                    <a:pt x="9" y="1031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2" y="1031"/>
                    <a:pt x="12" y="1031"/>
                  </a:cubicBezTo>
                  <a:cubicBezTo>
                    <a:pt x="9" y="1031"/>
                    <a:pt x="9" y="1031"/>
                    <a:pt x="9" y="1031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2" y="1032"/>
                    <a:pt x="12" y="1032"/>
                    <a:pt x="12" y="1032"/>
                  </a:cubicBezTo>
                  <a:cubicBezTo>
                    <a:pt x="20" y="1024"/>
                    <a:pt x="26" y="1013"/>
                    <a:pt x="32" y="999"/>
                  </a:cubicBezTo>
                  <a:cubicBezTo>
                    <a:pt x="43" y="975"/>
                    <a:pt x="51" y="942"/>
                    <a:pt x="58" y="902"/>
                  </a:cubicBezTo>
                  <a:cubicBezTo>
                    <a:pt x="78" y="783"/>
                    <a:pt x="84" y="604"/>
                    <a:pt x="84" y="438"/>
                  </a:cubicBezTo>
                  <a:cubicBezTo>
                    <a:pt x="84" y="213"/>
                    <a:pt x="73" y="11"/>
                    <a:pt x="73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2" y="15"/>
                    <a:pt x="62" y="21"/>
                  </a:cubicBezTo>
                  <a:cubicBezTo>
                    <a:pt x="64" y="63"/>
                    <a:pt x="72" y="242"/>
                    <a:pt x="72" y="438"/>
                  </a:cubicBezTo>
                  <a:cubicBezTo>
                    <a:pt x="72" y="564"/>
                    <a:pt x="69" y="698"/>
                    <a:pt x="58" y="806"/>
                  </a:cubicBezTo>
                  <a:cubicBezTo>
                    <a:pt x="53" y="861"/>
                    <a:pt x="46" y="909"/>
                    <a:pt x="37" y="946"/>
                  </a:cubicBezTo>
                  <a:cubicBezTo>
                    <a:pt x="32" y="965"/>
                    <a:pt x="27" y="981"/>
                    <a:pt x="21" y="994"/>
                  </a:cubicBezTo>
                  <a:cubicBezTo>
                    <a:pt x="16" y="1007"/>
                    <a:pt x="10" y="1017"/>
                    <a:pt x="3" y="1023"/>
                  </a:cubicBezTo>
                  <a:cubicBezTo>
                    <a:pt x="2" y="1024"/>
                    <a:pt x="1" y="1025"/>
                    <a:pt x="1" y="1026"/>
                  </a:cubicBezTo>
                  <a:cubicBezTo>
                    <a:pt x="0" y="1028"/>
                    <a:pt x="0" y="1029"/>
                    <a:pt x="0" y="1031"/>
                  </a:cubicBezTo>
                  <a:cubicBezTo>
                    <a:pt x="0" y="1033"/>
                    <a:pt x="1" y="1035"/>
                    <a:pt x="2" y="1037"/>
                  </a:cubicBezTo>
                  <a:cubicBezTo>
                    <a:pt x="3" y="1038"/>
                    <a:pt x="4" y="1039"/>
                    <a:pt x="6" y="1040"/>
                  </a:cubicBezTo>
                  <a:cubicBezTo>
                    <a:pt x="8" y="1041"/>
                    <a:pt x="11" y="1042"/>
                    <a:pt x="15" y="1043"/>
                  </a:cubicBezTo>
                  <a:cubicBezTo>
                    <a:pt x="21" y="1045"/>
                    <a:pt x="29" y="1046"/>
                    <a:pt x="39" y="1047"/>
                  </a:cubicBezTo>
                  <a:cubicBezTo>
                    <a:pt x="69" y="1051"/>
                    <a:pt x="115" y="1052"/>
                    <a:pt x="170" y="1052"/>
                  </a:cubicBezTo>
                  <a:cubicBezTo>
                    <a:pt x="377" y="1052"/>
                    <a:pt x="708" y="1033"/>
                    <a:pt x="708" y="1033"/>
                  </a:cubicBezTo>
                  <a:cubicBezTo>
                    <a:pt x="717" y="1033"/>
                    <a:pt x="717" y="1033"/>
                    <a:pt x="717" y="1033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2" y="1025"/>
                    <a:pt x="712" y="1025"/>
                    <a:pt x="712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2" y="1025"/>
                    <a:pt x="712" y="1025"/>
                    <a:pt x="712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3" y="1024"/>
                    <a:pt x="712" y="1024"/>
                    <a:pt x="712" y="1022"/>
                  </a:cubicBezTo>
                  <a:cubicBezTo>
                    <a:pt x="712" y="1018"/>
                    <a:pt x="711" y="1009"/>
                    <a:pt x="711" y="997"/>
                  </a:cubicBezTo>
                  <a:cubicBezTo>
                    <a:pt x="710" y="985"/>
                    <a:pt x="710" y="970"/>
                    <a:pt x="710" y="952"/>
                  </a:cubicBezTo>
                  <a:cubicBezTo>
                    <a:pt x="710" y="834"/>
                    <a:pt x="718" y="599"/>
                    <a:pt x="726" y="393"/>
                  </a:cubicBezTo>
                  <a:cubicBezTo>
                    <a:pt x="730" y="291"/>
                    <a:pt x="734" y="195"/>
                    <a:pt x="737" y="126"/>
                  </a:cubicBezTo>
                  <a:cubicBezTo>
                    <a:pt x="738" y="91"/>
                    <a:pt x="739" y="62"/>
                    <a:pt x="740" y="42"/>
                  </a:cubicBezTo>
                  <a:cubicBezTo>
                    <a:pt x="741" y="33"/>
                    <a:pt x="741" y="25"/>
                    <a:pt x="741" y="20"/>
                  </a:cubicBezTo>
                  <a:cubicBezTo>
                    <a:pt x="741" y="14"/>
                    <a:pt x="741" y="12"/>
                    <a:pt x="741" y="12"/>
                  </a:cubicBezTo>
                  <a:cubicBezTo>
                    <a:pt x="742" y="0"/>
                    <a:pt x="742" y="0"/>
                    <a:pt x="742" y="0"/>
                  </a:cubicBezTo>
                  <a:cubicBezTo>
                    <a:pt x="732" y="6"/>
                    <a:pt x="732" y="6"/>
                    <a:pt x="732" y="6"/>
                  </a:cubicBezTo>
                  <a:cubicBezTo>
                    <a:pt x="724" y="12"/>
                    <a:pt x="712" y="16"/>
                    <a:pt x="698" y="20"/>
                  </a:cubicBezTo>
                  <a:cubicBezTo>
                    <a:pt x="677" y="26"/>
                    <a:pt x="649" y="30"/>
                    <a:pt x="618" y="32"/>
                  </a:cubicBezTo>
                  <a:cubicBezTo>
                    <a:pt x="586" y="35"/>
                    <a:pt x="551" y="36"/>
                    <a:pt x="514" y="36"/>
                  </a:cubicBezTo>
                  <a:cubicBezTo>
                    <a:pt x="416" y="36"/>
                    <a:pt x="304" y="28"/>
                    <a:pt x="217" y="21"/>
                  </a:cubicBezTo>
                  <a:cubicBezTo>
                    <a:pt x="174" y="17"/>
                    <a:pt x="136" y="13"/>
                    <a:pt x="110" y="10"/>
                  </a:cubicBezTo>
                  <a:cubicBezTo>
                    <a:pt x="97" y="9"/>
                    <a:pt x="86" y="8"/>
                    <a:pt x="79" y="7"/>
                  </a:cubicBezTo>
                  <a:cubicBezTo>
                    <a:pt x="72" y="6"/>
                    <a:pt x="68" y="6"/>
                    <a:pt x="68" y="6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7" y="11"/>
                    <a:pt x="67" y="11"/>
                    <a:pt x="67" y="11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şḻíďê">
              <a:extLst>
                <a:ext uri="{FF2B5EF4-FFF2-40B4-BE49-F238E27FC236}">
                  <a16:creationId xmlns:a16="http://schemas.microsoft.com/office/drawing/2014/main" id="{1F1333D7-4931-4559-BF96-F7031FA762AF}"/>
                </a:ext>
              </a:extLst>
            </p:cNvPr>
            <p:cNvSpPr/>
            <p:nvPr/>
          </p:nvSpPr>
          <p:spPr bwMode="auto">
            <a:xfrm>
              <a:off x="7119938" y="2674938"/>
              <a:ext cx="149225" cy="192088"/>
            </a:xfrm>
            <a:custGeom>
              <a:avLst/>
              <a:gdLst>
                <a:gd name="T0" fmla="*/ 0 w 108"/>
                <a:gd name="T1" fmla="*/ 0 h 140"/>
                <a:gd name="T2" fmla="*/ 108 w 108"/>
                <a:gd name="T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8" h="140">
                  <a:moveTo>
                    <a:pt x="0" y="0"/>
                  </a:moveTo>
                  <a:cubicBezTo>
                    <a:pt x="0" y="0"/>
                    <a:pt x="81" y="128"/>
                    <a:pt x="108" y="1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îṩľíḋè">
              <a:extLst>
                <a:ext uri="{FF2B5EF4-FFF2-40B4-BE49-F238E27FC236}">
                  <a16:creationId xmlns:a16="http://schemas.microsoft.com/office/drawing/2014/main" id="{F9DFE568-2CE7-4152-9A8A-64209D008D6B}"/>
                </a:ext>
              </a:extLst>
            </p:cNvPr>
            <p:cNvSpPr/>
            <p:nvPr/>
          </p:nvSpPr>
          <p:spPr bwMode="auto">
            <a:xfrm>
              <a:off x="7119938" y="2674938"/>
              <a:ext cx="149225" cy="192088"/>
            </a:xfrm>
            <a:custGeom>
              <a:avLst/>
              <a:gdLst>
                <a:gd name="T0" fmla="*/ 0 w 108"/>
                <a:gd name="T1" fmla="*/ 0 h 140"/>
                <a:gd name="T2" fmla="*/ 108 w 108"/>
                <a:gd name="T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8" h="140">
                  <a:moveTo>
                    <a:pt x="0" y="0"/>
                  </a:moveTo>
                  <a:cubicBezTo>
                    <a:pt x="0" y="0"/>
                    <a:pt x="81" y="128"/>
                    <a:pt x="108" y="140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ṩ1ïḍè">
              <a:extLst>
                <a:ext uri="{FF2B5EF4-FFF2-40B4-BE49-F238E27FC236}">
                  <a16:creationId xmlns:a16="http://schemas.microsoft.com/office/drawing/2014/main" id="{62C03C84-5127-4DC9-AA13-D8411412E981}"/>
                </a:ext>
              </a:extLst>
            </p:cNvPr>
            <p:cNvSpPr/>
            <p:nvPr/>
          </p:nvSpPr>
          <p:spPr bwMode="auto">
            <a:xfrm>
              <a:off x="7146925" y="2674938"/>
              <a:ext cx="122238" cy="185738"/>
            </a:xfrm>
            <a:custGeom>
              <a:avLst/>
              <a:gdLst>
                <a:gd name="T0" fmla="*/ 89 w 89"/>
                <a:gd name="T1" fmla="*/ 0 h 136"/>
                <a:gd name="T2" fmla="*/ 0 w 89"/>
                <a:gd name="T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9" h="136">
                  <a:moveTo>
                    <a:pt x="89" y="0"/>
                  </a:moveTo>
                  <a:cubicBezTo>
                    <a:pt x="89" y="0"/>
                    <a:pt x="12" y="102"/>
                    <a:pt x="0" y="13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ïsľíďè">
              <a:extLst>
                <a:ext uri="{FF2B5EF4-FFF2-40B4-BE49-F238E27FC236}">
                  <a16:creationId xmlns:a16="http://schemas.microsoft.com/office/drawing/2014/main" id="{AF8E068C-8249-472A-AEEC-A795F3776095}"/>
                </a:ext>
              </a:extLst>
            </p:cNvPr>
            <p:cNvSpPr/>
            <p:nvPr/>
          </p:nvSpPr>
          <p:spPr bwMode="auto">
            <a:xfrm>
              <a:off x="7146925" y="2674938"/>
              <a:ext cx="122238" cy="185738"/>
            </a:xfrm>
            <a:custGeom>
              <a:avLst/>
              <a:gdLst>
                <a:gd name="T0" fmla="*/ 89 w 89"/>
                <a:gd name="T1" fmla="*/ 0 h 136"/>
                <a:gd name="T2" fmla="*/ 0 w 89"/>
                <a:gd name="T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9" h="136">
                  <a:moveTo>
                    <a:pt x="89" y="0"/>
                  </a:moveTo>
                  <a:cubicBezTo>
                    <a:pt x="89" y="0"/>
                    <a:pt x="12" y="102"/>
                    <a:pt x="0" y="13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Sliḑè">
              <a:extLst>
                <a:ext uri="{FF2B5EF4-FFF2-40B4-BE49-F238E27FC236}">
                  <a16:creationId xmlns:a16="http://schemas.microsoft.com/office/drawing/2014/main" id="{989BBD8D-D056-4EB0-B756-D27A21D02865}"/>
                </a:ext>
              </a:extLst>
            </p:cNvPr>
            <p:cNvSpPr/>
            <p:nvPr/>
          </p:nvSpPr>
          <p:spPr bwMode="auto">
            <a:xfrm>
              <a:off x="7127875" y="3036888"/>
              <a:ext cx="627063" cy="82550"/>
            </a:xfrm>
            <a:custGeom>
              <a:avLst/>
              <a:gdLst>
                <a:gd name="T0" fmla="*/ 456 w 456"/>
                <a:gd name="T1" fmla="*/ 0 h 60"/>
                <a:gd name="T2" fmla="*/ 32 w 456"/>
                <a:gd name="T3" fmla="*/ 0 h 60"/>
                <a:gd name="T4" fmla="*/ 0 w 456"/>
                <a:gd name="T5" fmla="*/ 60 h 60"/>
                <a:gd name="T6" fmla="*/ 456 w 456"/>
                <a:gd name="T7" fmla="*/ 60 h 60"/>
                <a:gd name="T8" fmla="*/ 456 w 4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60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60"/>
                    <a:pt x="0" y="60"/>
                  </a:cubicBezTo>
                  <a:cubicBezTo>
                    <a:pt x="456" y="60"/>
                    <a:pt x="456" y="60"/>
                    <a:pt x="456" y="60"/>
                  </a:cubicBezTo>
                  <a:lnTo>
                    <a:pt x="45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$liḑê">
              <a:extLst>
                <a:ext uri="{FF2B5EF4-FFF2-40B4-BE49-F238E27FC236}">
                  <a16:creationId xmlns:a16="http://schemas.microsoft.com/office/drawing/2014/main" id="{42248929-BE4A-40C1-AE67-7D6970B5C819}"/>
                </a:ext>
              </a:extLst>
            </p:cNvPr>
            <p:cNvSpPr/>
            <p:nvPr/>
          </p:nvSpPr>
          <p:spPr bwMode="auto">
            <a:xfrm>
              <a:off x="7127875" y="3036888"/>
              <a:ext cx="627063" cy="82550"/>
            </a:xfrm>
            <a:custGeom>
              <a:avLst/>
              <a:gdLst>
                <a:gd name="T0" fmla="*/ 456 w 456"/>
                <a:gd name="T1" fmla="*/ 0 h 60"/>
                <a:gd name="T2" fmla="*/ 32 w 456"/>
                <a:gd name="T3" fmla="*/ 0 h 60"/>
                <a:gd name="T4" fmla="*/ 0 w 456"/>
                <a:gd name="T5" fmla="*/ 60 h 60"/>
                <a:gd name="T6" fmla="*/ 456 w 456"/>
                <a:gd name="T7" fmla="*/ 60 h 60"/>
                <a:gd name="T8" fmla="*/ 456 w 4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60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60"/>
                    <a:pt x="0" y="60"/>
                  </a:cubicBezTo>
                  <a:cubicBezTo>
                    <a:pt x="456" y="60"/>
                    <a:pt x="456" y="60"/>
                    <a:pt x="456" y="60"/>
                  </a:cubicBezTo>
                  <a:lnTo>
                    <a:pt x="456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śļiḍe">
              <a:extLst>
                <a:ext uri="{FF2B5EF4-FFF2-40B4-BE49-F238E27FC236}">
                  <a16:creationId xmlns:a16="http://schemas.microsoft.com/office/drawing/2014/main" id="{DFB8AFFF-4DA8-4A7B-977F-8EEF66E5BE10}"/>
                </a:ext>
              </a:extLst>
            </p:cNvPr>
            <p:cNvSpPr/>
            <p:nvPr/>
          </p:nvSpPr>
          <p:spPr bwMode="auto">
            <a:xfrm>
              <a:off x="7437438" y="3279775"/>
              <a:ext cx="349250" cy="82550"/>
            </a:xfrm>
            <a:custGeom>
              <a:avLst/>
              <a:gdLst>
                <a:gd name="T0" fmla="*/ 0 w 254"/>
                <a:gd name="T1" fmla="*/ 0 h 60"/>
                <a:gd name="T2" fmla="*/ 221 w 254"/>
                <a:gd name="T3" fmla="*/ 0 h 60"/>
                <a:gd name="T4" fmla="*/ 253 w 254"/>
                <a:gd name="T5" fmla="*/ 60 h 60"/>
                <a:gd name="T6" fmla="*/ 254 w 254"/>
                <a:gd name="T7" fmla="*/ 60 h 60"/>
                <a:gd name="T8" fmla="*/ 0 w 254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60">
                  <a:moveTo>
                    <a:pt x="0" y="0"/>
                  </a:moveTo>
                  <a:cubicBezTo>
                    <a:pt x="221" y="0"/>
                    <a:pt x="221" y="0"/>
                    <a:pt x="221" y="0"/>
                  </a:cubicBezTo>
                  <a:cubicBezTo>
                    <a:pt x="253" y="0"/>
                    <a:pt x="253" y="60"/>
                    <a:pt x="253" y="60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ṥḻiḑê">
              <a:extLst>
                <a:ext uri="{FF2B5EF4-FFF2-40B4-BE49-F238E27FC236}">
                  <a16:creationId xmlns:a16="http://schemas.microsoft.com/office/drawing/2014/main" id="{86CC6B13-5303-431B-98CF-8184BF4918B3}"/>
                </a:ext>
              </a:extLst>
            </p:cNvPr>
            <p:cNvSpPr/>
            <p:nvPr/>
          </p:nvSpPr>
          <p:spPr bwMode="auto">
            <a:xfrm>
              <a:off x="7437438" y="3271838"/>
              <a:ext cx="355600" cy="98425"/>
            </a:xfrm>
            <a:custGeom>
              <a:avLst/>
              <a:gdLst>
                <a:gd name="T0" fmla="*/ 0 w 259"/>
                <a:gd name="T1" fmla="*/ 12 h 72"/>
                <a:gd name="T2" fmla="*/ 221 w 259"/>
                <a:gd name="T3" fmla="*/ 12 h 72"/>
                <a:gd name="T4" fmla="*/ 229 w 259"/>
                <a:gd name="T5" fmla="*/ 14 h 72"/>
                <a:gd name="T6" fmla="*/ 239 w 259"/>
                <a:gd name="T7" fmla="*/ 25 h 72"/>
                <a:gd name="T8" fmla="*/ 246 w 259"/>
                <a:gd name="T9" fmla="*/ 52 h 72"/>
                <a:gd name="T10" fmla="*/ 247 w 259"/>
                <a:gd name="T11" fmla="*/ 62 h 72"/>
                <a:gd name="T12" fmla="*/ 247 w 259"/>
                <a:gd name="T13" fmla="*/ 65 h 72"/>
                <a:gd name="T14" fmla="*/ 247 w 259"/>
                <a:gd name="T15" fmla="*/ 66 h 72"/>
                <a:gd name="T16" fmla="*/ 247 w 259"/>
                <a:gd name="T17" fmla="*/ 66 h 72"/>
                <a:gd name="T18" fmla="*/ 247 w 259"/>
                <a:gd name="T19" fmla="*/ 72 h 72"/>
                <a:gd name="T20" fmla="*/ 254 w 259"/>
                <a:gd name="T21" fmla="*/ 72 h 72"/>
                <a:gd name="T22" fmla="*/ 254 w 259"/>
                <a:gd name="T23" fmla="*/ 60 h 72"/>
                <a:gd name="T24" fmla="*/ 253 w 259"/>
                <a:gd name="T25" fmla="*/ 60 h 72"/>
                <a:gd name="T26" fmla="*/ 253 w 259"/>
                <a:gd name="T27" fmla="*/ 66 h 72"/>
                <a:gd name="T28" fmla="*/ 259 w 259"/>
                <a:gd name="T29" fmla="*/ 66 h 72"/>
                <a:gd name="T30" fmla="*/ 255 w 259"/>
                <a:gd name="T31" fmla="*/ 35 h 72"/>
                <a:gd name="T32" fmla="*/ 244 w 259"/>
                <a:gd name="T33" fmla="*/ 12 h 72"/>
                <a:gd name="T34" fmla="*/ 235 w 259"/>
                <a:gd name="T35" fmla="*/ 4 h 72"/>
                <a:gd name="T36" fmla="*/ 221 w 259"/>
                <a:gd name="T37" fmla="*/ 0 h 72"/>
                <a:gd name="T38" fmla="*/ 0 w 259"/>
                <a:gd name="T39" fmla="*/ 0 h 72"/>
                <a:gd name="T40" fmla="*/ 0 w 259"/>
                <a:gd name="T41" fmla="*/ 12 h 72"/>
                <a:gd name="T42" fmla="*/ 0 w 259"/>
                <a:gd name="T43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9" h="72">
                  <a:moveTo>
                    <a:pt x="0" y="12"/>
                  </a:moveTo>
                  <a:cubicBezTo>
                    <a:pt x="221" y="12"/>
                    <a:pt x="221" y="12"/>
                    <a:pt x="221" y="12"/>
                  </a:cubicBezTo>
                  <a:cubicBezTo>
                    <a:pt x="224" y="12"/>
                    <a:pt x="227" y="13"/>
                    <a:pt x="229" y="14"/>
                  </a:cubicBezTo>
                  <a:cubicBezTo>
                    <a:pt x="233" y="16"/>
                    <a:pt x="236" y="20"/>
                    <a:pt x="239" y="25"/>
                  </a:cubicBezTo>
                  <a:cubicBezTo>
                    <a:pt x="243" y="33"/>
                    <a:pt x="245" y="43"/>
                    <a:pt x="246" y="52"/>
                  </a:cubicBezTo>
                  <a:cubicBezTo>
                    <a:pt x="247" y="56"/>
                    <a:pt x="247" y="59"/>
                    <a:pt x="247" y="62"/>
                  </a:cubicBezTo>
                  <a:cubicBezTo>
                    <a:pt x="247" y="63"/>
                    <a:pt x="247" y="64"/>
                    <a:pt x="247" y="65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7" y="72"/>
                    <a:pt x="247" y="72"/>
                    <a:pt x="247" y="72"/>
                  </a:cubicBezTo>
                  <a:cubicBezTo>
                    <a:pt x="254" y="72"/>
                    <a:pt x="254" y="72"/>
                    <a:pt x="254" y="7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3" y="60"/>
                    <a:pt x="253" y="60"/>
                    <a:pt x="253" y="60"/>
                  </a:cubicBezTo>
                  <a:cubicBezTo>
                    <a:pt x="253" y="66"/>
                    <a:pt x="253" y="66"/>
                    <a:pt x="253" y="66"/>
                  </a:cubicBezTo>
                  <a:cubicBezTo>
                    <a:pt x="259" y="66"/>
                    <a:pt x="259" y="66"/>
                    <a:pt x="259" y="66"/>
                  </a:cubicBezTo>
                  <a:cubicBezTo>
                    <a:pt x="259" y="65"/>
                    <a:pt x="259" y="50"/>
                    <a:pt x="255" y="35"/>
                  </a:cubicBezTo>
                  <a:cubicBezTo>
                    <a:pt x="253" y="27"/>
                    <a:pt x="250" y="19"/>
                    <a:pt x="244" y="12"/>
                  </a:cubicBezTo>
                  <a:cubicBezTo>
                    <a:pt x="242" y="9"/>
                    <a:pt x="238" y="6"/>
                    <a:pt x="235" y="4"/>
                  </a:cubicBezTo>
                  <a:cubicBezTo>
                    <a:pt x="231" y="2"/>
                    <a:pt x="226" y="0"/>
                    <a:pt x="2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ṣḻídè">
              <a:extLst>
                <a:ext uri="{FF2B5EF4-FFF2-40B4-BE49-F238E27FC236}">
                  <a16:creationId xmlns:a16="http://schemas.microsoft.com/office/drawing/2014/main" id="{3EED5719-AF7F-4387-9E2A-D08898E7CBD0}"/>
                </a:ext>
              </a:extLst>
            </p:cNvPr>
            <p:cNvSpPr/>
            <p:nvPr/>
          </p:nvSpPr>
          <p:spPr bwMode="auto">
            <a:xfrm>
              <a:off x="7127875" y="3143250"/>
              <a:ext cx="673100" cy="95250"/>
            </a:xfrm>
            <a:custGeom>
              <a:avLst/>
              <a:gdLst>
                <a:gd name="T0" fmla="*/ 456 w 489"/>
                <a:gd name="T1" fmla="*/ 10 h 69"/>
                <a:gd name="T2" fmla="*/ 32 w 489"/>
                <a:gd name="T3" fmla="*/ 10 h 69"/>
                <a:gd name="T4" fmla="*/ 0 w 489"/>
                <a:gd name="T5" fmla="*/ 69 h 69"/>
                <a:gd name="T6" fmla="*/ 456 w 489"/>
                <a:gd name="T7" fmla="*/ 69 h 69"/>
                <a:gd name="T8" fmla="*/ 456 w 489"/>
                <a:gd name="T9" fmla="*/ 1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69">
                  <a:moveTo>
                    <a:pt x="456" y="10"/>
                  </a:moveTo>
                  <a:cubicBezTo>
                    <a:pt x="489" y="10"/>
                    <a:pt x="70" y="29"/>
                    <a:pt x="32" y="10"/>
                  </a:cubicBezTo>
                  <a:cubicBezTo>
                    <a:pt x="13" y="0"/>
                    <a:pt x="0" y="69"/>
                    <a:pt x="0" y="69"/>
                  </a:cubicBezTo>
                  <a:cubicBezTo>
                    <a:pt x="456" y="69"/>
                    <a:pt x="456" y="69"/>
                    <a:pt x="456" y="69"/>
                  </a:cubicBezTo>
                  <a:cubicBezTo>
                    <a:pt x="456" y="10"/>
                    <a:pt x="456" y="10"/>
                    <a:pt x="456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ṣ1íďê">
              <a:extLst>
                <a:ext uri="{FF2B5EF4-FFF2-40B4-BE49-F238E27FC236}">
                  <a16:creationId xmlns:a16="http://schemas.microsoft.com/office/drawing/2014/main" id="{98C7E463-0AB6-47A8-92B5-BB83051DBD92}"/>
                </a:ext>
              </a:extLst>
            </p:cNvPr>
            <p:cNvSpPr/>
            <p:nvPr/>
          </p:nvSpPr>
          <p:spPr bwMode="auto">
            <a:xfrm>
              <a:off x="7118350" y="3148013"/>
              <a:ext cx="647700" cy="98425"/>
            </a:xfrm>
            <a:custGeom>
              <a:avLst/>
              <a:gdLst>
                <a:gd name="T0" fmla="*/ 463 w 471"/>
                <a:gd name="T1" fmla="*/ 13 h 72"/>
                <a:gd name="T2" fmla="*/ 465 w 471"/>
                <a:gd name="T3" fmla="*/ 13 h 72"/>
                <a:gd name="T4" fmla="*/ 464 w 471"/>
                <a:gd name="T5" fmla="*/ 13 h 72"/>
                <a:gd name="T6" fmla="*/ 465 w 471"/>
                <a:gd name="T7" fmla="*/ 10 h 72"/>
                <a:gd name="T8" fmla="*/ 465 w 471"/>
                <a:gd name="T9" fmla="*/ 8 h 72"/>
                <a:gd name="T10" fmla="*/ 464 w 471"/>
                <a:gd name="T11" fmla="*/ 13 h 72"/>
                <a:gd name="T12" fmla="*/ 463 w 471"/>
                <a:gd name="T13" fmla="*/ 13 h 72"/>
                <a:gd name="T14" fmla="*/ 462 w 471"/>
                <a:gd name="T15" fmla="*/ 12 h 72"/>
                <a:gd name="T16" fmla="*/ 465 w 471"/>
                <a:gd name="T17" fmla="*/ 7 h 72"/>
                <a:gd name="T18" fmla="*/ 465 w 471"/>
                <a:gd name="T19" fmla="*/ 7 h 72"/>
                <a:gd name="T20" fmla="*/ 462 w 471"/>
                <a:gd name="T21" fmla="*/ 12 h 72"/>
                <a:gd name="T22" fmla="*/ 460 w 471"/>
                <a:gd name="T23" fmla="*/ 11 h 72"/>
                <a:gd name="T24" fmla="*/ 459 w 471"/>
                <a:gd name="T25" fmla="*/ 7 h 72"/>
                <a:gd name="T26" fmla="*/ 465 w 471"/>
                <a:gd name="T27" fmla="*/ 7 h 72"/>
                <a:gd name="T28" fmla="*/ 465 w 471"/>
                <a:gd name="T29" fmla="*/ 7 h 72"/>
                <a:gd name="T30" fmla="*/ 459 w 471"/>
                <a:gd name="T31" fmla="*/ 7 h 72"/>
                <a:gd name="T32" fmla="*/ 460 w 471"/>
                <a:gd name="T33" fmla="*/ 4 h 72"/>
                <a:gd name="T34" fmla="*/ 462 w 471"/>
                <a:gd name="T35" fmla="*/ 2 h 72"/>
                <a:gd name="T36" fmla="*/ 465 w 471"/>
                <a:gd name="T37" fmla="*/ 7 h 72"/>
                <a:gd name="T38" fmla="*/ 465 w 471"/>
                <a:gd name="T39" fmla="*/ 7 h 72"/>
                <a:gd name="T40" fmla="*/ 462 w 471"/>
                <a:gd name="T41" fmla="*/ 2 h 72"/>
                <a:gd name="T42" fmla="*/ 463 w 471"/>
                <a:gd name="T43" fmla="*/ 2 h 72"/>
                <a:gd name="T44" fmla="*/ 464 w 471"/>
                <a:gd name="T45" fmla="*/ 1 h 72"/>
                <a:gd name="T46" fmla="*/ 465 w 471"/>
                <a:gd name="T47" fmla="*/ 7 h 72"/>
                <a:gd name="T48" fmla="*/ 465 w 471"/>
                <a:gd name="T49" fmla="*/ 5 h 72"/>
                <a:gd name="T50" fmla="*/ 464 w 471"/>
                <a:gd name="T51" fmla="*/ 1 h 72"/>
                <a:gd name="T52" fmla="*/ 464 w 471"/>
                <a:gd name="T53" fmla="*/ 1 h 72"/>
                <a:gd name="T54" fmla="*/ 453 w 471"/>
                <a:gd name="T55" fmla="*/ 2 h 72"/>
                <a:gd name="T56" fmla="*/ 86 w 471"/>
                <a:gd name="T57" fmla="*/ 8 h 72"/>
                <a:gd name="T58" fmla="*/ 47 w 471"/>
                <a:gd name="T59" fmla="*/ 4 h 72"/>
                <a:gd name="T60" fmla="*/ 36 w 471"/>
                <a:gd name="T61" fmla="*/ 0 h 72"/>
                <a:gd name="T62" fmla="*/ 15 w 471"/>
                <a:gd name="T63" fmla="*/ 20 h 72"/>
                <a:gd name="T64" fmla="*/ 2 w 471"/>
                <a:gd name="T65" fmla="*/ 65 h 72"/>
                <a:gd name="T66" fmla="*/ 469 w 471"/>
                <a:gd name="T67" fmla="*/ 72 h 72"/>
                <a:gd name="T68" fmla="*/ 463 w 471"/>
                <a:gd name="T69" fmla="*/ 7 h 72"/>
                <a:gd name="T70" fmla="*/ 463 w 471"/>
                <a:gd name="T71" fmla="*/ 7 h 72"/>
                <a:gd name="T72" fmla="*/ 457 w 471"/>
                <a:gd name="T73" fmla="*/ 60 h 72"/>
                <a:gd name="T74" fmla="*/ 7 w 471"/>
                <a:gd name="T75" fmla="*/ 66 h 72"/>
                <a:gd name="T76" fmla="*/ 14 w 471"/>
                <a:gd name="T77" fmla="*/ 67 h 72"/>
                <a:gd name="T78" fmla="*/ 30 w 471"/>
                <a:gd name="T79" fmla="*/ 18 h 72"/>
                <a:gd name="T80" fmla="*/ 36 w 471"/>
                <a:gd name="T81" fmla="*/ 12 h 72"/>
                <a:gd name="T82" fmla="*/ 45 w 471"/>
                <a:gd name="T83" fmla="*/ 15 h 72"/>
                <a:gd name="T84" fmla="*/ 173 w 471"/>
                <a:gd name="T85" fmla="*/ 22 h 72"/>
                <a:gd name="T86" fmla="*/ 438 w 471"/>
                <a:gd name="T87" fmla="*/ 15 h 72"/>
                <a:gd name="T88" fmla="*/ 464 w 471"/>
                <a:gd name="T89" fmla="*/ 14 h 72"/>
                <a:gd name="T90" fmla="*/ 466 w 471"/>
                <a:gd name="T91" fmla="*/ 13 h 72"/>
                <a:gd name="T92" fmla="*/ 469 w 471"/>
                <a:gd name="T93" fmla="*/ 12 h 72"/>
                <a:gd name="T94" fmla="*/ 471 w 471"/>
                <a:gd name="T95" fmla="*/ 7 h 72"/>
                <a:gd name="T96" fmla="*/ 469 w 471"/>
                <a:gd name="T97" fmla="*/ 2 h 72"/>
                <a:gd name="T98" fmla="*/ 466 w 471"/>
                <a:gd name="T99" fmla="*/ 1 h 72"/>
                <a:gd name="T100" fmla="*/ 463 w 471"/>
                <a:gd name="T101" fmla="*/ 1 h 72"/>
                <a:gd name="T102" fmla="*/ 457 w 471"/>
                <a:gd name="T103" fmla="*/ 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71" h="72">
                  <a:moveTo>
                    <a:pt x="463" y="7"/>
                  </a:moveTo>
                  <a:cubicBezTo>
                    <a:pt x="463" y="13"/>
                    <a:pt x="463" y="13"/>
                    <a:pt x="463" y="13"/>
                  </a:cubicBezTo>
                  <a:cubicBezTo>
                    <a:pt x="464" y="13"/>
                    <a:pt x="464" y="13"/>
                    <a:pt x="465" y="13"/>
                  </a:cubicBezTo>
                  <a:cubicBezTo>
                    <a:pt x="465" y="13"/>
                    <a:pt x="465" y="13"/>
                    <a:pt x="465" y="13"/>
                  </a:cubicBezTo>
                  <a:cubicBezTo>
                    <a:pt x="465" y="10"/>
                    <a:pt x="465" y="10"/>
                    <a:pt x="465" y="10"/>
                  </a:cubicBezTo>
                  <a:cubicBezTo>
                    <a:pt x="464" y="13"/>
                    <a:pt x="464" y="13"/>
                    <a:pt x="464" y="13"/>
                  </a:cubicBezTo>
                  <a:cubicBezTo>
                    <a:pt x="465" y="13"/>
                    <a:pt x="465" y="13"/>
                    <a:pt x="465" y="13"/>
                  </a:cubicBezTo>
                  <a:cubicBezTo>
                    <a:pt x="465" y="10"/>
                    <a:pt x="465" y="10"/>
                    <a:pt x="465" y="10"/>
                  </a:cubicBezTo>
                  <a:cubicBezTo>
                    <a:pt x="464" y="13"/>
                    <a:pt x="464" y="13"/>
                    <a:pt x="464" y="13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3" y="13"/>
                    <a:pt x="463" y="13"/>
                    <a:pt x="463" y="13"/>
                  </a:cubicBezTo>
                  <a:cubicBezTo>
                    <a:pt x="464" y="13"/>
                    <a:pt x="464" y="13"/>
                    <a:pt x="464" y="13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3" y="13"/>
                    <a:pt x="463" y="13"/>
                    <a:pt x="463" y="13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12"/>
                    <a:pt x="462" y="12"/>
                    <a:pt x="462" y="12"/>
                  </a:cubicBezTo>
                  <a:cubicBezTo>
                    <a:pt x="462" y="13"/>
                    <a:pt x="463" y="13"/>
                    <a:pt x="463" y="13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12"/>
                    <a:pt x="462" y="12"/>
                    <a:pt x="462" y="1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1" y="11"/>
                    <a:pt x="461" y="12"/>
                    <a:pt x="462" y="1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59" y="7"/>
                    <a:pt x="459" y="7"/>
                    <a:pt x="459" y="7"/>
                  </a:cubicBezTo>
                  <a:cubicBezTo>
                    <a:pt x="459" y="9"/>
                    <a:pt x="460" y="10"/>
                    <a:pt x="460" y="11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59" y="7"/>
                    <a:pt x="459" y="7"/>
                    <a:pt x="459" y="7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4"/>
                    <a:pt x="460" y="4"/>
                    <a:pt x="460" y="4"/>
                  </a:cubicBezTo>
                  <a:cubicBezTo>
                    <a:pt x="460" y="4"/>
                    <a:pt x="459" y="6"/>
                    <a:pt x="459" y="7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4"/>
                    <a:pt x="460" y="4"/>
                    <a:pt x="460" y="4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2"/>
                    <a:pt x="462" y="2"/>
                    <a:pt x="462" y="2"/>
                  </a:cubicBezTo>
                  <a:cubicBezTo>
                    <a:pt x="461" y="3"/>
                    <a:pt x="461" y="3"/>
                    <a:pt x="460" y="4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2"/>
                    <a:pt x="462" y="2"/>
                    <a:pt x="462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3" y="2"/>
                    <a:pt x="463" y="2"/>
                    <a:pt x="463" y="2"/>
                  </a:cubicBezTo>
                  <a:cubicBezTo>
                    <a:pt x="463" y="2"/>
                    <a:pt x="463" y="2"/>
                    <a:pt x="462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3" y="2"/>
                    <a:pt x="463" y="2"/>
                    <a:pt x="463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2"/>
                    <a:pt x="464" y="2"/>
                    <a:pt x="463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5" y="5"/>
                    <a:pt x="465" y="5"/>
                    <a:pt x="465" y="5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5" y="5"/>
                    <a:pt x="465" y="5"/>
                    <a:pt x="465" y="5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3" y="2"/>
                    <a:pt x="459" y="2"/>
                    <a:pt x="453" y="2"/>
                  </a:cubicBezTo>
                  <a:cubicBezTo>
                    <a:pt x="413" y="4"/>
                    <a:pt x="279" y="10"/>
                    <a:pt x="173" y="10"/>
                  </a:cubicBezTo>
                  <a:cubicBezTo>
                    <a:pt x="140" y="10"/>
                    <a:pt x="110" y="9"/>
                    <a:pt x="86" y="8"/>
                  </a:cubicBezTo>
                  <a:cubicBezTo>
                    <a:pt x="75" y="7"/>
                    <a:pt x="65" y="6"/>
                    <a:pt x="57" y="5"/>
                  </a:cubicBezTo>
                  <a:cubicBezTo>
                    <a:pt x="53" y="5"/>
                    <a:pt x="50" y="4"/>
                    <a:pt x="47" y="4"/>
                  </a:cubicBezTo>
                  <a:cubicBezTo>
                    <a:pt x="45" y="3"/>
                    <a:pt x="43" y="2"/>
                    <a:pt x="42" y="2"/>
                  </a:cubicBezTo>
                  <a:cubicBezTo>
                    <a:pt x="40" y="1"/>
                    <a:pt x="38" y="0"/>
                    <a:pt x="36" y="0"/>
                  </a:cubicBezTo>
                  <a:cubicBezTo>
                    <a:pt x="32" y="0"/>
                    <a:pt x="28" y="2"/>
                    <a:pt x="26" y="4"/>
                  </a:cubicBezTo>
                  <a:cubicBezTo>
                    <a:pt x="21" y="8"/>
                    <a:pt x="18" y="14"/>
                    <a:pt x="15" y="20"/>
                  </a:cubicBezTo>
                  <a:cubicBezTo>
                    <a:pt x="10" y="30"/>
                    <a:pt x="7" y="41"/>
                    <a:pt x="5" y="50"/>
                  </a:cubicBezTo>
                  <a:cubicBezTo>
                    <a:pt x="3" y="59"/>
                    <a:pt x="2" y="65"/>
                    <a:pt x="2" y="65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469" y="72"/>
                    <a:pt x="469" y="72"/>
                    <a:pt x="469" y="72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3" y="7"/>
                    <a:pt x="463" y="7"/>
                    <a:pt x="463" y="7"/>
                  </a:cubicBezTo>
                  <a:cubicBezTo>
                    <a:pt x="463" y="13"/>
                    <a:pt x="463" y="13"/>
                    <a:pt x="463" y="13"/>
                  </a:cubicBezTo>
                  <a:cubicBezTo>
                    <a:pt x="463" y="7"/>
                    <a:pt x="463" y="7"/>
                    <a:pt x="463" y="7"/>
                  </a:cubicBezTo>
                  <a:cubicBezTo>
                    <a:pt x="457" y="7"/>
                    <a:pt x="457" y="7"/>
                    <a:pt x="457" y="7"/>
                  </a:cubicBezTo>
                  <a:cubicBezTo>
                    <a:pt x="457" y="60"/>
                    <a:pt x="457" y="60"/>
                    <a:pt x="45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7"/>
                    <a:pt x="14" y="67"/>
                  </a:cubicBezTo>
                  <a:cubicBezTo>
                    <a:pt x="14" y="64"/>
                    <a:pt x="17" y="49"/>
                    <a:pt x="22" y="35"/>
                  </a:cubicBezTo>
                  <a:cubicBezTo>
                    <a:pt x="24" y="29"/>
                    <a:pt x="27" y="22"/>
                    <a:pt x="30" y="18"/>
                  </a:cubicBezTo>
                  <a:cubicBezTo>
                    <a:pt x="31" y="16"/>
                    <a:pt x="32" y="14"/>
                    <a:pt x="33" y="13"/>
                  </a:cubicBezTo>
                  <a:cubicBezTo>
                    <a:pt x="35" y="12"/>
                    <a:pt x="35" y="12"/>
                    <a:pt x="36" y="12"/>
                  </a:cubicBezTo>
                  <a:cubicBezTo>
                    <a:pt x="36" y="12"/>
                    <a:pt x="36" y="12"/>
                    <a:pt x="37" y="13"/>
                  </a:cubicBezTo>
                  <a:cubicBezTo>
                    <a:pt x="39" y="14"/>
                    <a:pt x="42" y="15"/>
                    <a:pt x="45" y="15"/>
                  </a:cubicBezTo>
                  <a:cubicBezTo>
                    <a:pt x="50" y="17"/>
                    <a:pt x="57" y="18"/>
                    <a:pt x="66" y="18"/>
                  </a:cubicBezTo>
                  <a:cubicBezTo>
                    <a:pt x="91" y="21"/>
                    <a:pt x="130" y="22"/>
                    <a:pt x="173" y="22"/>
                  </a:cubicBezTo>
                  <a:cubicBezTo>
                    <a:pt x="236" y="22"/>
                    <a:pt x="309" y="20"/>
                    <a:pt x="366" y="18"/>
                  </a:cubicBezTo>
                  <a:cubicBezTo>
                    <a:pt x="395" y="17"/>
                    <a:pt x="420" y="16"/>
                    <a:pt x="438" y="15"/>
                  </a:cubicBezTo>
                  <a:cubicBezTo>
                    <a:pt x="446" y="15"/>
                    <a:pt x="453" y="14"/>
                    <a:pt x="458" y="14"/>
                  </a:cubicBezTo>
                  <a:cubicBezTo>
                    <a:pt x="461" y="14"/>
                    <a:pt x="462" y="14"/>
                    <a:pt x="464" y="14"/>
                  </a:cubicBezTo>
                  <a:cubicBezTo>
                    <a:pt x="464" y="13"/>
                    <a:pt x="465" y="13"/>
                    <a:pt x="465" y="13"/>
                  </a:cubicBezTo>
                  <a:cubicBezTo>
                    <a:pt x="466" y="13"/>
                    <a:pt x="466" y="13"/>
                    <a:pt x="466" y="13"/>
                  </a:cubicBezTo>
                  <a:cubicBezTo>
                    <a:pt x="467" y="13"/>
                    <a:pt x="467" y="13"/>
                    <a:pt x="467" y="13"/>
                  </a:cubicBezTo>
                  <a:cubicBezTo>
                    <a:pt x="468" y="13"/>
                    <a:pt x="468" y="13"/>
                    <a:pt x="469" y="12"/>
                  </a:cubicBezTo>
                  <a:cubicBezTo>
                    <a:pt x="469" y="12"/>
                    <a:pt x="469" y="12"/>
                    <a:pt x="470" y="11"/>
                  </a:cubicBezTo>
                  <a:cubicBezTo>
                    <a:pt x="471" y="10"/>
                    <a:pt x="471" y="9"/>
                    <a:pt x="471" y="7"/>
                  </a:cubicBezTo>
                  <a:cubicBezTo>
                    <a:pt x="471" y="6"/>
                    <a:pt x="471" y="4"/>
                    <a:pt x="470" y="4"/>
                  </a:cubicBezTo>
                  <a:cubicBezTo>
                    <a:pt x="469" y="3"/>
                    <a:pt x="469" y="3"/>
                    <a:pt x="469" y="2"/>
                  </a:cubicBezTo>
                  <a:cubicBezTo>
                    <a:pt x="468" y="2"/>
                    <a:pt x="467" y="2"/>
                    <a:pt x="467" y="2"/>
                  </a:cubicBezTo>
                  <a:cubicBezTo>
                    <a:pt x="466" y="1"/>
                    <a:pt x="466" y="1"/>
                    <a:pt x="466" y="1"/>
                  </a:cubicBezTo>
                  <a:cubicBezTo>
                    <a:pt x="465" y="1"/>
                    <a:pt x="465" y="1"/>
                    <a:pt x="465" y="1"/>
                  </a:cubicBezTo>
                  <a:cubicBezTo>
                    <a:pt x="464" y="1"/>
                    <a:pt x="464" y="1"/>
                    <a:pt x="463" y="1"/>
                  </a:cubicBezTo>
                  <a:cubicBezTo>
                    <a:pt x="457" y="1"/>
                    <a:pt x="457" y="1"/>
                    <a:pt x="457" y="1"/>
                  </a:cubicBezTo>
                  <a:cubicBezTo>
                    <a:pt x="457" y="7"/>
                    <a:pt x="457" y="7"/>
                    <a:pt x="457" y="7"/>
                  </a:cubicBezTo>
                  <a:cubicBezTo>
                    <a:pt x="463" y="7"/>
                    <a:pt x="463" y="7"/>
                    <a:pt x="463" y="7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ṩḻiḑê">
              <a:extLst>
                <a:ext uri="{FF2B5EF4-FFF2-40B4-BE49-F238E27FC236}">
                  <a16:creationId xmlns:a16="http://schemas.microsoft.com/office/drawing/2014/main" id="{632DEFB8-D1FD-490D-B04F-EE519B9F797F}"/>
                </a:ext>
              </a:extLst>
            </p:cNvPr>
            <p:cNvSpPr/>
            <p:nvPr/>
          </p:nvSpPr>
          <p:spPr bwMode="auto">
            <a:xfrm>
              <a:off x="7018338" y="2540000"/>
              <a:ext cx="909638" cy="61913"/>
            </a:xfrm>
            <a:custGeom>
              <a:avLst/>
              <a:gdLst>
                <a:gd name="T0" fmla="*/ 0 w 661"/>
                <a:gd name="T1" fmla="*/ 0 h 45"/>
                <a:gd name="T2" fmla="*/ 661 w 661"/>
                <a:gd name="T3" fmla="*/ 1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61" h="45">
                  <a:moveTo>
                    <a:pt x="0" y="0"/>
                  </a:moveTo>
                  <a:cubicBezTo>
                    <a:pt x="0" y="0"/>
                    <a:pt x="621" y="45"/>
                    <a:pt x="661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ḻiḑe">
              <a:extLst>
                <a:ext uri="{FF2B5EF4-FFF2-40B4-BE49-F238E27FC236}">
                  <a16:creationId xmlns:a16="http://schemas.microsoft.com/office/drawing/2014/main" id="{7129E1BB-4615-4BC0-B546-D3CB08BFE79F}"/>
                </a:ext>
              </a:extLst>
            </p:cNvPr>
            <p:cNvSpPr/>
            <p:nvPr/>
          </p:nvSpPr>
          <p:spPr bwMode="auto">
            <a:xfrm>
              <a:off x="7018338" y="2540000"/>
              <a:ext cx="909638" cy="61913"/>
            </a:xfrm>
            <a:custGeom>
              <a:avLst/>
              <a:gdLst>
                <a:gd name="T0" fmla="*/ 0 w 661"/>
                <a:gd name="T1" fmla="*/ 0 h 45"/>
                <a:gd name="T2" fmla="*/ 661 w 661"/>
                <a:gd name="T3" fmla="*/ 1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61" h="45">
                  <a:moveTo>
                    <a:pt x="0" y="0"/>
                  </a:moveTo>
                  <a:cubicBezTo>
                    <a:pt x="0" y="0"/>
                    <a:pt x="621" y="45"/>
                    <a:pt x="661" y="15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ṣḷíḋè">
              <a:extLst>
                <a:ext uri="{FF2B5EF4-FFF2-40B4-BE49-F238E27FC236}">
                  <a16:creationId xmlns:a16="http://schemas.microsoft.com/office/drawing/2014/main" id="{A43EF1F2-9CC1-4929-B30B-28BA269ED89A}"/>
                </a:ext>
              </a:extLst>
            </p:cNvPr>
            <p:cNvSpPr/>
            <p:nvPr/>
          </p:nvSpPr>
          <p:spPr bwMode="auto">
            <a:xfrm>
              <a:off x="7820025" y="2495550"/>
              <a:ext cx="69850" cy="9525"/>
            </a:xfrm>
            <a:custGeom>
              <a:avLst/>
              <a:gdLst>
                <a:gd name="T0" fmla="*/ 0 w 51"/>
                <a:gd name="T1" fmla="*/ 3 h 7"/>
                <a:gd name="T2" fmla="*/ 26 w 51"/>
                <a:gd name="T3" fmla="*/ 5 h 7"/>
                <a:gd name="T4" fmla="*/ 51 w 51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7">
                  <a:moveTo>
                    <a:pt x="0" y="3"/>
                  </a:moveTo>
                  <a:cubicBezTo>
                    <a:pt x="9" y="1"/>
                    <a:pt x="18" y="4"/>
                    <a:pt x="26" y="5"/>
                  </a:cubicBezTo>
                  <a:cubicBezTo>
                    <a:pt x="35" y="7"/>
                    <a:pt x="45" y="6"/>
                    <a:pt x="5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śľiḋê">
              <a:extLst>
                <a:ext uri="{FF2B5EF4-FFF2-40B4-BE49-F238E27FC236}">
                  <a16:creationId xmlns:a16="http://schemas.microsoft.com/office/drawing/2014/main" id="{2D886CE5-7DAA-4AEF-A2BF-8E68ED40F6BC}"/>
                </a:ext>
              </a:extLst>
            </p:cNvPr>
            <p:cNvSpPr/>
            <p:nvPr/>
          </p:nvSpPr>
          <p:spPr bwMode="auto">
            <a:xfrm>
              <a:off x="7820025" y="2495550"/>
              <a:ext cx="69850" cy="9525"/>
            </a:xfrm>
            <a:custGeom>
              <a:avLst/>
              <a:gdLst>
                <a:gd name="T0" fmla="*/ 0 w 51"/>
                <a:gd name="T1" fmla="*/ 3 h 7"/>
                <a:gd name="T2" fmla="*/ 26 w 51"/>
                <a:gd name="T3" fmla="*/ 5 h 7"/>
                <a:gd name="T4" fmla="*/ 51 w 51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7">
                  <a:moveTo>
                    <a:pt x="0" y="3"/>
                  </a:moveTo>
                  <a:cubicBezTo>
                    <a:pt x="9" y="1"/>
                    <a:pt x="18" y="4"/>
                    <a:pt x="26" y="5"/>
                  </a:cubicBezTo>
                  <a:cubicBezTo>
                    <a:pt x="35" y="7"/>
                    <a:pt x="45" y="6"/>
                    <a:pt x="51" y="0"/>
                  </a:cubicBezTo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îś1ïḓê">
              <a:extLst>
                <a:ext uri="{FF2B5EF4-FFF2-40B4-BE49-F238E27FC236}">
                  <a16:creationId xmlns:a16="http://schemas.microsoft.com/office/drawing/2014/main" id="{9FE48429-A2B1-4DE0-A765-BEDD4C74F882}"/>
                </a:ext>
              </a:extLst>
            </p:cNvPr>
            <p:cNvSpPr/>
            <p:nvPr/>
          </p:nvSpPr>
          <p:spPr bwMode="auto">
            <a:xfrm>
              <a:off x="7813675" y="2522538"/>
              <a:ext cx="74613" cy="4763"/>
            </a:xfrm>
            <a:custGeom>
              <a:avLst/>
              <a:gdLst>
                <a:gd name="T0" fmla="*/ 0 w 54"/>
                <a:gd name="T1" fmla="*/ 0 h 4"/>
                <a:gd name="T2" fmla="*/ 54 w 5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" h="4">
                  <a:moveTo>
                    <a:pt x="0" y="0"/>
                  </a:moveTo>
                  <a:cubicBezTo>
                    <a:pt x="18" y="3"/>
                    <a:pt x="36" y="4"/>
                    <a:pt x="5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šlîḑê">
              <a:extLst>
                <a:ext uri="{FF2B5EF4-FFF2-40B4-BE49-F238E27FC236}">
                  <a16:creationId xmlns:a16="http://schemas.microsoft.com/office/drawing/2014/main" id="{A8EE2ECF-F484-4171-BA9D-07EB4AD7F899}"/>
                </a:ext>
              </a:extLst>
            </p:cNvPr>
            <p:cNvSpPr/>
            <p:nvPr/>
          </p:nvSpPr>
          <p:spPr bwMode="auto">
            <a:xfrm>
              <a:off x="7813675" y="2522538"/>
              <a:ext cx="74613" cy="4763"/>
            </a:xfrm>
            <a:custGeom>
              <a:avLst/>
              <a:gdLst>
                <a:gd name="T0" fmla="*/ 0 w 54"/>
                <a:gd name="T1" fmla="*/ 0 h 4"/>
                <a:gd name="T2" fmla="*/ 54 w 5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" h="4">
                  <a:moveTo>
                    <a:pt x="0" y="0"/>
                  </a:moveTo>
                  <a:cubicBezTo>
                    <a:pt x="18" y="3"/>
                    <a:pt x="36" y="4"/>
                    <a:pt x="54" y="3"/>
                  </a:cubicBezTo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Sḻïďe">
              <a:extLst>
                <a:ext uri="{FF2B5EF4-FFF2-40B4-BE49-F238E27FC236}">
                  <a16:creationId xmlns:a16="http://schemas.microsoft.com/office/drawing/2014/main" id="{C2E114B4-5501-4B1E-A2C8-2F681773A0C7}"/>
                </a:ext>
              </a:extLst>
            </p:cNvPr>
            <p:cNvSpPr/>
            <p:nvPr/>
          </p:nvSpPr>
          <p:spPr bwMode="auto">
            <a:xfrm>
              <a:off x="7813675" y="2544763"/>
              <a:ext cx="63500" cy="7938"/>
            </a:xfrm>
            <a:custGeom>
              <a:avLst/>
              <a:gdLst>
                <a:gd name="T0" fmla="*/ 0 w 46"/>
                <a:gd name="T1" fmla="*/ 5 h 5"/>
                <a:gd name="T2" fmla="*/ 46 w 4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6" h="5">
                  <a:moveTo>
                    <a:pt x="0" y="5"/>
                  </a:moveTo>
                  <a:cubicBezTo>
                    <a:pt x="15" y="3"/>
                    <a:pt x="31" y="1"/>
                    <a:pt x="4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ṧ1îḍè">
              <a:extLst>
                <a:ext uri="{FF2B5EF4-FFF2-40B4-BE49-F238E27FC236}">
                  <a16:creationId xmlns:a16="http://schemas.microsoft.com/office/drawing/2014/main" id="{F2E100A5-0AFF-40C7-817E-70F182B3CE9B}"/>
                </a:ext>
              </a:extLst>
            </p:cNvPr>
            <p:cNvSpPr/>
            <p:nvPr/>
          </p:nvSpPr>
          <p:spPr bwMode="auto">
            <a:xfrm>
              <a:off x="7813675" y="2544763"/>
              <a:ext cx="63500" cy="7938"/>
            </a:xfrm>
            <a:custGeom>
              <a:avLst/>
              <a:gdLst>
                <a:gd name="T0" fmla="*/ 0 w 46"/>
                <a:gd name="T1" fmla="*/ 5 h 5"/>
                <a:gd name="T2" fmla="*/ 46 w 4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6" h="5">
                  <a:moveTo>
                    <a:pt x="0" y="5"/>
                  </a:moveTo>
                  <a:cubicBezTo>
                    <a:pt x="15" y="3"/>
                    <a:pt x="31" y="1"/>
                    <a:pt x="46" y="0"/>
                  </a:cubicBezTo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slïdé">
              <a:extLst>
                <a:ext uri="{FF2B5EF4-FFF2-40B4-BE49-F238E27FC236}">
                  <a16:creationId xmlns:a16="http://schemas.microsoft.com/office/drawing/2014/main" id="{A5E3F63B-7F9D-4F57-A519-B21F46DB7122}"/>
                </a:ext>
              </a:extLst>
            </p:cNvPr>
            <p:cNvSpPr/>
            <p:nvPr/>
          </p:nvSpPr>
          <p:spPr bwMode="auto">
            <a:xfrm>
              <a:off x="7045325" y="2460625"/>
              <a:ext cx="82550" cy="58738"/>
            </a:xfrm>
            <a:custGeom>
              <a:avLst/>
              <a:gdLst>
                <a:gd name="T0" fmla="*/ 16 w 61"/>
                <a:gd name="T1" fmla="*/ 38 h 43"/>
                <a:gd name="T2" fmla="*/ 40 w 61"/>
                <a:gd name="T3" fmla="*/ 42 h 43"/>
                <a:gd name="T4" fmla="*/ 55 w 61"/>
                <a:gd name="T5" fmla="*/ 39 h 43"/>
                <a:gd name="T6" fmla="*/ 60 w 61"/>
                <a:gd name="T7" fmla="*/ 20 h 43"/>
                <a:gd name="T8" fmla="*/ 59 w 61"/>
                <a:gd name="T9" fmla="*/ 14 h 43"/>
                <a:gd name="T10" fmla="*/ 55 w 61"/>
                <a:gd name="T11" fmla="*/ 10 h 43"/>
                <a:gd name="T12" fmla="*/ 15 w 61"/>
                <a:gd name="T13" fmla="*/ 5 h 43"/>
                <a:gd name="T14" fmla="*/ 16 w 61"/>
                <a:gd name="T15" fmla="*/ 3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3">
                  <a:moveTo>
                    <a:pt x="16" y="38"/>
                  </a:moveTo>
                  <a:cubicBezTo>
                    <a:pt x="23" y="41"/>
                    <a:pt x="31" y="43"/>
                    <a:pt x="40" y="42"/>
                  </a:cubicBezTo>
                  <a:cubicBezTo>
                    <a:pt x="45" y="43"/>
                    <a:pt x="50" y="42"/>
                    <a:pt x="55" y="39"/>
                  </a:cubicBezTo>
                  <a:cubicBezTo>
                    <a:pt x="60" y="35"/>
                    <a:pt x="60" y="27"/>
                    <a:pt x="60" y="20"/>
                  </a:cubicBezTo>
                  <a:cubicBezTo>
                    <a:pt x="61" y="18"/>
                    <a:pt x="60" y="16"/>
                    <a:pt x="59" y="14"/>
                  </a:cubicBezTo>
                  <a:cubicBezTo>
                    <a:pt x="58" y="12"/>
                    <a:pt x="57" y="11"/>
                    <a:pt x="55" y="10"/>
                  </a:cubicBezTo>
                  <a:cubicBezTo>
                    <a:pt x="45" y="3"/>
                    <a:pt x="27" y="0"/>
                    <a:pt x="15" y="5"/>
                  </a:cubicBezTo>
                  <a:cubicBezTo>
                    <a:pt x="0" y="11"/>
                    <a:pt x="2" y="30"/>
                    <a:pt x="16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íṩ1ïḍè">
              <a:extLst>
                <a:ext uri="{FF2B5EF4-FFF2-40B4-BE49-F238E27FC236}">
                  <a16:creationId xmlns:a16="http://schemas.microsoft.com/office/drawing/2014/main" id="{76CF5EDB-F720-4A98-8962-5943A7775CB1}"/>
                </a:ext>
              </a:extLst>
            </p:cNvPr>
            <p:cNvSpPr/>
            <p:nvPr/>
          </p:nvSpPr>
          <p:spPr bwMode="auto">
            <a:xfrm>
              <a:off x="7045325" y="2460625"/>
              <a:ext cx="82550" cy="58738"/>
            </a:xfrm>
            <a:custGeom>
              <a:avLst/>
              <a:gdLst>
                <a:gd name="T0" fmla="*/ 16 w 61"/>
                <a:gd name="T1" fmla="*/ 38 h 43"/>
                <a:gd name="T2" fmla="*/ 40 w 61"/>
                <a:gd name="T3" fmla="*/ 42 h 43"/>
                <a:gd name="T4" fmla="*/ 55 w 61"/>
                <a:gd name="T5" fmla="*/ 39 h 43"/>
                <a:gd name="T6" fmla="*/ 60 w 61"/>
                <a:gd name="T7" fmla="*/ 20 h 43"/>
                <a:gd name="T8" fmla="*/ 59 w 61"/>
                <a:gd name="T9" fmla="*/ 14 h 43"/>
                <a:gd name="T10" fmla="*/ 55 w 61"/>
                <a:gd name="T11" fmla="*/ 10 h 43"/>
                <a:gd name="T12" fmla="*/ 15 w 61"/>
                <a:gd name="T13" fmla="*/ 5 h 43"/>
                <a:gd name="T14" fmla="*/ 16 w 61"/>
                <a:gd name="T15" fmla="*/ 3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3">
                  <a:moveTo>
                    <a:pt x="16" y="38"/>
                  </a:moveTo>
                  <a:cubicBezTo>
                    <a:pt x="23" y="41"/>
                    <a:pt x="31" y="43"/>
                    <a:pt x="40" y="42"/>
                  </a:cubicBezTo>
                  <a:cubicBezTo>
                    <a:pt x="45" y="43"/>
                    <a:pt x="50" y="42"/>
                    <a:pt x="55" y="39"/>
                  </a:cubicBezTo>
                  <a:cubicBezTo>
                    <a:pt x="60" y="35"/>
                    <a:pt x="60" y="27"/>
                    <a:pt x="60" y="20"/>
                  </a:cubicBezTo>
                  <a:cubicBezTo>
                    <a:pt x="61" y="18"/>
                    <a:pt x="60" y="16"/>
                    <a:pt x="59" y="14"/>
                  </a:cubicBezTo>
                  <a:cubicBezTo>
                    <a:pt x="58" y="12"/>
                    <a:pt x="57" y="11"/>
                    <a:pt x="55" y="10"/>
                  </a:cubicBezTo>
                  <a:cubicBezTo>
                    <a:pt x="45" y="3"/>
                    <a:pt x="27" y="0"/>
                    <a:pt x="15" y="5"/>
                  </a:cubicBezTo>
                  <a:cubicBezTo>
                    <a:pt x="0" y="11"/>
                    <a:pt x="2" y="30"/>
                    <a:pt x="16" y="38"/>
                  </a:cubicBezTo>
                  <a:close/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śḷïḋê">
              <a:extLst>
                <a:ext uri="{FF2B5EF4-FFF2-40B4-BE49-F238E27FC236}">
                  <a16:creationId xmlns:a16="http://schemas.microsoft.com/office/drawing/2014/main" id="{D44847B0-418D-4021-97BC-53331458A98B}"/>
                </a:ext>
              </a:extLst>
            </p:cNvPr>
            <p:cNvSpPr/>
            <p:nvPr/>
          </p:nvSpPr>
          <p:spPr bwMode="auto">
            <a:xfrm>
              <a:off x="7072313" y="2640013"/>
              <a:ext cx="263525" cy="282575"/>
            </a:xfrm>
            <a:custGeom>
              <a:avLst/>
              <a:gdLst>
                <a:gd name="T0" fmla="*/ 173 w 191"/>
                <a:gd name="T1" fmla="*/ 0 h 206"/>
                <a:gd name="T2" fmla="*/ 182 w 191"/>
                <a:gd name="T3" fmla="*/ 89 h 206"/>
                <a:gd name="T4" fmla="*/ 189 w 191"/>
                <a:gd name="T5" fmla="*/ 201 h 206"/>
                <a:gd name="T6" fmla="*/ 0 w 191"/>
                <a:gd name="T7" fmla="*/ 204 h 206"/>
                <a:gd name="T8" fmla="*/ 5 w 191"/>
                <a:gd name="T9" fmla="*/ 57 h 206"/>
                <a:gd name="T10" fmla="*/ 20 w 191"/>
                <a:gd name="T11" fmla="*/ 9 h 206"/>
                <a:gd name="T12" fmla="*/ 87 w 191"/>
                <a:gd name="T13" fmla="*/ 5 h 206"/>
                <a:gd name="T14" fmla="*/ 173 w 191"/>
                <a:gd name="T1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1" h="206">
                  <a:moveTo>
                    <a:pt x="173" y="0"/>
                  </a:moveTo>
                  <a:cubicBezTo>
                    <a:pt x="170" y="30"/>
                    <a:pt x="177" y="59"/>
                    <a:pt x="182" y="89"/>
                  </a:cubicBezTo>
                  <a:cubicBezTo>
                    <a:pt x="188" y="126"/>
                    <a:pt x="191" y="163"/>
                    <a:pt x="189" y="201"/>
                  </a:cubicBezTo>
                  <a:cubicBezTo>
                    <a:pt x="126" y="205"/>
                    <a:pt x="63" y="206"/>
                    <a:pt x="0" y="204"/>
                  </a:cubicBezTo>
                  <a:cubicBezTo>
                    <a:pt x="6" y="204"/>
                    <a:pt x="4" y="70"/>
                    <a:pt x="5" y="57"/>
                  </a:cubicBezTo>
                  <a:cubicBezTo>
                    <a:pt x="5" y="42"/>
                    <a:pt x="2" y="15"/>
                    <a:pt x="20" y="9"/>
                  </a:cubicBezTo>
                  <a:cubicBezTo>
                    <a:pt x="40" y="2"/>
                    <a:pt x="67" y="6"/>
                    <a:pt x="87" y="5"/>
                  </a:cubicBezTo>
                  <a:cubicBezTo>
                    <a:pt x="115" y="4"/>
                    <a:pt x="144" y="2"/>
                    <a:pt x="17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ïś1îdè">
              <a:extLst>
                <a:ext uri="{FF2B5EF4-FFF2-40B4-BE49-F238E27FC236}">
                  <a16:creationId xmlns:a16="http://schemas.microsoft.com/office/drawing/2014/main" id="{DCC9DBBD-D9A3-4D90-BD79-16968775D133}"/>
                </a:ext>
              </a:extLst>
            </p:cNvPr>
            <p:cNvSpPr/>
            <p:nvPr/>
          </p:nvSpPr>
          <p:spPr bwMode="auto">
            <a:xfrm>
              <a:off x="7072313" y="2640013"/>
              <a:ext cx="263525" cy="282575"/>
            </a:xfrm>
            <a:custGeom>
              <a:avLst/>
              <a:gdLst>
                <a:gd name="T0" fmla="*/ 173 w 191"/>
                <a:gd name="T1" fmla="*/ 0 h 206"/>
                <a:gd name="T2" fmla="*/ 182 w 191"/>
                <a:gd name="T3" fmla="*/ 89 h 206"/>
                <a:gd name="T4" fmla="*/ 189 w 191"/>
                <a:gd name="T5" fmla="*/ 201 h 206"/>
                <a:gd name="T6" fmla="*/ 0 w 191"/>
                <a:gd name="T7" fmla="*/ 204 h 206"/>
                <a:gd name="T8" fmla="*/ 5 w 191"/>
                <a:gd name="T9" fmla="*/ 57 h 206"/>
                <a:gd name="T10" fmla="*/ 20 w 191"/>
                <a:gd name="T11" fmla="*/ 9 h 206"/>
                <a:gd name="T12" fmla="*/ 87 w 191"/>
                <a:gd name="T13" fmla="*/ 5 h 206"/>
                <a:gd name="T14" fmla="*/ 173 w 191"/>
                <a:gd name="T1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1" h="206">
                  <a:moveTo>
                    <a:pt x="173" y="0"/>
                  </a:moveTo>
                  <a:cubicBezTo>
                    <a:pt x="170" y="30"/>
                    <a:pt x="177" y="59"/>
                    <a:pt x="182" y="89"/>
                  </a:cubicBezTo>
                  <a:cubicBezTo>
                    <a:pt x="188" y="126"/>
                    <a:pt x="191" y="163"/>
                    <a:pt x="189" y="201"/>
                  </a:cubicBezTo>
                  <a:cubicBezTo>
                    <a:pt x="126" y="205"/>
                    <a:pt x="63" y="206"/>
                    <a:pt x="0" y="204"/>
                  </a:cubicBezTo>
                  <a:cubicBezTo>
                    <a:pt x="6" y="204"/>
                    <a:pt x="4" y="70"/>
                    <a:pt x="5" y="57"/>
                  </a:cubicBezTo>
                  <a:cubicBezTo>
                    <a:pt x="5" y="42"/>
                    <a:pt x="2" y="15"/>
                    <a:pt x="20" y="9"/>
                  </a:cubicBezTo>
                  <a:cubicBezTo>
                    <a:pt x="40" y="2"/>
                    <a:pt x="67" y="6"/>
                    <a:pt x="87" y="5"/>
                  </a:cubicBezTo>
                  <a:cubicBezTo>
                    <a:pt x="115" y="4"/>
                    <a:pt x="144" y="2"/>
                    <a:pt x="173" y="0"/>
                  </a:cubicBez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ṩľidè">
              <a:extLst>
                <a:ext uri="{FF2B5EF4-FFF2-40B4-BE49-F238E27FC236}">
                  <a16:creationId xmlns:a16="http://schemas.microsoft.com/office/drawing/2014/main" id="{D8551BCF-11CF-4DC3-A7C4-D0A55FBE773F}"/>
                </a:ext>
              </a:extLst>
            </p:cNvPr>
            <p:cNvSpPr/>
            <p:nvPr/>
          </p:nvSpPr>
          <p:spPr bwMode="auto">
            <a:xfrm>
              <a:off x="5057775" y="3044825"/>
              <a:ext cx="254000" cy="11113"/>
            </a:xfrm>
            <a:custGeom>
              <a:avLst/>
              <a:gdLst>
                <a:gd name="T0" fmla="*/ 0 w 184"/>
                <a:gd name="T1" fmla="*/ 8 h 8"/>
                <a:gd name="T2" fmla="*/ 184 w 184"/>
                <a:gd name="T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4" h="8">
                  <a:moveTo>
                    <a:pt x="0" y="8"/>
                  </a:moveTo>
                  <a:cubicBezTo>
                    <a:pt x="0" y="8"/>
                    <a:pt x="156" y="0"/>
                    <a:pt x="184" y="8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ṧḻîdé">
              <a:extLst>
                <a:ext uri="{FF2B5EF4-FFF2-40B4-BE49-F238E27FC236}">
                  <a16:creationId xmlns:a16="http://schemas.microsoft.com/office/drawing/2014/main" id="{6E5EC5C4-0716-4790-B00A-17AD0C3A014D}"/>
                </a:ext>
              </a:extLst>
            </p:cNvPr>
            <p:cNvSpPr/>
            <p:nvPr/>
          </p:nvSpPr>
          <p:spPr bwMode="auto">
            <a:xfrm>
              <a:off x="5283200" y="2941638"/>
              <a:ext cx="122238" cy="214313"/>
            </a:xfrm>
            <a:custGeom>
              <a:avLst/>
              <a:gdLst>
                <a:gd name="T0" fmla="*/ 20 w 88"/>
                <a:gd name="T1" fmla="*/ 0 h 156"/>
                <a:gd name="T2" fmla="*/ 88 w 88"/>
                <a:gd name="T3" fmla="*/ 84 h 156"/>
                <a:gd name="T4" fmla="*/ 0 w 88"/>
                <a:gd name="T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8" h="156">
                  <a:moveTo>
                    <a:pt x="20" y="0"/>
                  </a:moveTo>
                  <a:cubicBezTo>
                    <a:pt x="20" y="0"/>
                    <a:pt x="88" y="68"/>
                    <a:pt x="88" y="84"/>
                  </a:cubicBezTo>
                  <a:cubicBezTo>
                    <a:pt x="88" y="100"/>
                    <a:pt x="0" y="156"/>
                    <a:pt x="0" y="15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$ḷîde">
              <a:extLst>
                <a:ext uri="{FF2B5EF4-FFF2-40B4-BE49-F238E27FC236}">
                  <a16:creationId xmlns:a16="http://schemas.microsoft.com/office/drawing/2014/main" id="{5D0CA9E4-AF4F-4250-8165-073FFD4CBA56}"/>
                </a:ext>
              </a:extLst>
            </p:cNvPr>
            <p:cNvSpPr/>
            <p:nvPr/>
          </p:nvSpPr>
          <p:spPr bwMode="auto">
            <a:xfrm>
              <a:off x="6545263" y="3044825"/>
              <a:ext cx="252413" cy="11113"/>
            </a:xfrm>
            <a:custGeom>
              <a:avLst/>
              <a:gdLst>
                <a:gd name="T0" fmla="*/ 0 w 184"/>
                <a:gd name="T1" fmla="*/ 8 h 8"/>
                <a:gd name="T2" fmla="*/ 184 w 184"/>
                <a:gd name="T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4" h="8">
                  <a:moveTo>
                    <a:pt x="0" y="8"/>
                  </a:moveTo>
                  <a:cubicBezTo>
                    <a:pt x="0" y="8"/>
                    <a:pt x="156" y="0"/>
                    <a:pt x="184" y="8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śļîdé">
              <a:extLst>
                <a:ext uri="{FF2B5EF4-FFF2-40B4-BE49-F238E27FC236}">
                  <a16:creationId xmlns:a16="http://schemas.microsoft.com/office/drawing/2014/main" id="{E4A0524E-403D-49E0-B5A0-C0C8FB342E8B}"/>
                </a:ext>
              </a:extLst>
            </p:cNvPr>
            <p:cNvSpPr/>
            <p:nvPr/>
          </p:nvSpPr>
          <p:spPr bwMode="auto">
            <a:xfrm>
              <a:off x="6770688" y="2941638"/>
              <a:ext cx="120650" cy="214313"/>
            </a:xfrm>
            <a:custGeom>
              <a:avLst/>
              <a:gdLst>
                <a:gd name="T0" fmla="*/ 20 w 88"/>
                <a:gd name="T1" fmla="*/ 0 h 156"/>
                <a:gd name="T2" fmla="*/ 88 w 88"/>
                <a:gd name="T3" fmla="*/ 84 h 156"/>
                <a:gd name="T4" fmla="*/ 0 w 88"/>
                <a:gd name="T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8" h="156">
                  <a:moveTo>
                    <a:pt x="20" y="0"/>
                  </a:moveTo>
                  <a:cubicBezTo>
                    <a:pt x="20" y="0"/>
                    <a:pt x="88" y="68"/>
                    <a:pt x="88" y="84"/>
                  </a:cubicBezTo>
                  <a:cubicBezTo>
                    <a:pt x="88" y="100"/>
                    <a:pt x="0" y="156"/>
                    <a:pt x="0" y="15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śļíḓe">
              <a:extLst>
                <a:ext uri="{FF2B5EF4-FFF2-40B4-BE49-F238E27FC236}">
                  <a16:creationId xmlns:a16="http://schemas.microsoft.com/office/drawing/2014/main" id="{F50011F0-11A6-419D-A99A-C0C3A4113368}"/>
                </a:ext>
              </a:extLst>
            </p:cNvPr>
            <p:cNvSpPr/>
            <p:nvPr/>
          </p:nvSpPr>
          <p:spPr bwMode="auto">
            <a:xfrm>
              <a:off x="5159375" y="1512888"/>
              <a:ext cx="238125" cy="238125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íş1iḍé">
              <a:extLst>
                <a:ext uri="{FF2B5EF4-FFF2-40B4-BE49-F238E27FC236}">
                  <a16:creationId xmlns:a16="http://schemas.microsoft.com/office/drawing/2014/main" id="{259A15B8-9FAA-4EA0-ADB9-9C1255AB9E9E}"/>
                </a:ext>
              </a:extLst>
            </p:cNvPr>
            <p:cNvSpPr/>
            <p:nvPr/>
          </p:nvSpPr>
          <p:spPr bwMode="auto">
            <a:xfrm>
              <a:off x="6972300" y="1676400"/>
              <a:ext cx="238125" cy="23971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$ľîdé">
              <a:extLst>
                <a:ext uri="{FF2B5EF4-FFF2-40B4-BE49-F238E27FC236}">
                  <a16:creationId xmlns:a16="http://schemas.microsoft.com/office/drawing/2014/main" id="{C1538F82-11B3-4A21-8292-B7916A8D6069}"/>
                </a:ext>
              </a:extLst>
            </p:cNvPr>
            <p:cNvSpPr/>
            <p:nvPr/>
          </p:nvSpPr>
          <p:spPr bwMode="auto">
            <a:xfrm>
              <a:off x="8245475" y="3438525"/>
              <a:ext cx="238125" cy="238125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sliḋe">
              <a:extLst>
                <a:ext uri="{FF2B5EF4-FFF2-40B4-BE49-F238E27FC236}">
                  <a16:creationId xmlns:a16="http://schemas.microsoft.com/office/drawing/2014/main" id="{700AFE43-A76F-4877-BAA6-6E813FBE2A2B}"/>
                </a:ext>
              </a:extLst>
            </p:cNvPr>
            <p:cNvSpPr/>
            <p:nvPr/>
          </p:nvSpPr>
          <p:spPr bwMode="auto">
            <a:xfrm>
              <a:off x="8591550" y="2828925"/>
              <a:ext cx="398463" cy="39846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ïṡ1iďê">
              <a:extLst>
                <a:ext uri="{FF2B5EF4-FFF2-40B4-BE49-F238E27FC236}">
                  <a16:creationId xmlns:a16="http://schemas.microsoft.com/office/drawing/2014/main" id="{5B58DF82-FA1B-44CA-AE37-D5D21C831A80}"/>
                </a:ext>
              </a:extLst>
            </p:cNvPr>
            <p:cNvSpPr/>
            <p:nvPr/>
          </p:nvSpPr>
          <p:spPr bwMode="auto">
            <a:xfrm>
              <a:off x="8326438" y="3795713"/>
              <a:ext cx="400050" cy="39846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ŝlïḓé">
              <a:extLst>
                <a:ext uri="{FF2B5EF4-FFF2-40B4-BE49-F238E27FC236}">
                  <a16:creationId xmlns:a16="http://schemas.microsoft.com/office/drawing/2014/main" id="{5B5E2140-6642-48F4-BAA9-5754CB41F8F1}"/>
                </a:ext>
              </a:extLst>
            </p:cNvPr>
            <p:cNvSpPr/>
            <p:nvPr/>
          </p:nvSpPr>
          <p:spPr bwMode="auto">
            <a:xfrm>
              <a:off x="3200400" y="3171825"/>
              <a:ext cx="400050" cy="39846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ïṣḻîḍe">
              <a:extLst>
                <a:ext uri="{FF2B5EF4-FFF2-40B4-BE49-F238E27FC236}">
                  <a16:creationId xmlns:a16="http://schemas.microsoft.com/office/drawing/2014/main" id="{16040B74-7415-452E-8880-842E76B77B9A}"/>
                </a:ext>
              </a:extLst>
            </p:cNvPr>
            <p:cNvSpPr/>
            <p:nvPr/>
          </p:nvSpPr>
          <p:spPr bwMode="auto">
            <a:xfrm>
              <a:off x="7412038" y="3278188"/>
              <a:ext cx="25400" cy="17463"/>
            </a:xfrm>
            <a:custGeom>
              <a:avLst/>
              <a:gdLst>
                <a:gd name="T0" fmla="*/ 4 w 16"/>
                <a:gd name="T1" fmla="*/ 11 h 11"/>
                <a:gd name="T2" fmla="*/ 16 w 16"/>
                <a:gd name="T3" fmla="*/ 0 h 11"/>
                <a:gd name="T4" fmla="*/ 5 w 16"/>
                <a:gd name="T5" fmla="*/ 0 h 11"/>
                <a:gd name="T6" fmla="*/ 0 w 16"/>
                <a:gd name="T7" fmla="*/ 8 h 11"/>
                <a:gd name="T8" fmla="*/ 4 w 16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1">
                  <a:moveTo>
                    <a:pt x="4" y="11"/>
                  </a:moveTo>
                  <a:lnTo>
                    <a:pt x="16" y="0"/>
                  </a:lnTo>
                  <a:lnTo>
                    <a:pt x="5" y="0"/>
                  </a:lnTo>
                  <a:lnTo>
                    <a:pt x="0" y="8"/>
                  </a:lnTo>
                  <a:lnTo>
                    <a:pt x="4" y="11"/>
                  </a:lnTo>
                  <a:close/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íṣḷiḋê">
              <a:extLst>
                <a:ext uri="{FF2B5EF4-FFF2-40B4-BE49-F238E27FC236}">
                  <a16:creationId xmlns:a16="http://schemas.microsoft.com/office/drawing/2014/main" id="{61E676B7-A778-45FD-841B-276BB109F661}"/>
                </a:ext>
              </a:extLst>
            </p:cNvPr>
            <p:cNvSpPr/>
            <p:nvPr/>
          </p:nvSpPr>
          <p:spPr bwMode="auto">
            <a:xfrm>
              <a:off x="7285038" y="3287713"/>
              <a:ext cx="136525" cy="142875"/>
            </a:xfrm>
            <a:custGeom>
              <a:avLst/>
              <a:gdLst>
                <a:gd name="T0" fmla="*/ 0 w 86"/>
                <a:gd name="T1" fmla="*/ 80 h 90"/>
                <a:gd name="T2" fmla="*/ 13 w 86"/>
                <a:gd name="T3" fmla="*/ 65 h 90"/>
                <a:gd name="T4" fmla="*/ 16 w 86"/>
                <a:gd name="T5" fmla="*/ 62 h 90"/>
                <a:gd name="T6" fmla="*/ 53 w 86"/>
                <a:gd name="T7" fmla="*/ 22 h 90"/>
                <a:gd name="T8" fmla="*/ 66 w 86"/>
                <a:gd name="T9" fmla="*/ 9 h 90"/>
                <a:gd name="T10" fmla="*/ 72 w 86"/>
                <a:gd name="T11" fmla="*/ 9 h 90"/>
                <a:gd name="T12" fmla="*/ 81 w 86"/>
                <a:gd name="T13" fmla="*/ 0 h 90"/>
                <a:gd name="T14" fmla="*/ 86 w 86"/>
                <a:gd name="T15" fmla="*/ 4 h 90"/>
                <a:gd name="T16" fmla="*/ 78 w 86"/>
                <a:gd name="T17" fmla="*/ 14 h 90"/>
                <a:gd name="T18" fmla="*/ 78 w 86"/>
                <a:gd name="T19" fmla="*/ 19 h 90"/>
                <a:gd name="T20" fmla="*/ 65 w 86"/>
                <a:gd name="T21" fmla="*/ 34 h 90"/>
                <a:gd name="T22" fmla="*/ 28 w 86"/>
                <a:gd name="T23" fmla="*/ 73 h 90"/>
                <a:gd name="T24" fmla="*/ 25 w 86"/>
                <a:gd name="T25" fmla="*/ 76 h 90"/>
                <a:gd name="T26" fmla="*/ 11 w 86"/>
                <a:gd name="T27" fmla="*/ 90 h 90"/>
                <a:gd name="T28" fmla="*/ 0 w 86"/>
                <a:gd name="T29" fmla="*/ 8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90">
                  <a:moveTo>
                    <a:pt x="0" y="80"/>
                  </a:moveTo>
                  <a:lnTo>
                    <a:pt x="13" y="65"/>
                  </a:lnTo>
                  <a:lnTo>
                    <a:pt x="16" y="62"/>
                  </a:lnTo>
                  <a:lnTo>
                    <a:pt x="53" y="22"/>
                  </a:lnTo>
                  <a:lnTo>
                    <a:pt x="66" y="9"/>
                  </a:lnTo>
                  <a:lnTo>
                    <a:pt x="72" y="9"/>
                  </a:lnTo>
                  <a:lnTo>
                    <a:pt x="81" y="0"/>
                  </a:lnTo>
                  <a:lnTo>
                    <a:pt x="86" y="4"/>
                  </a:lnTo>
                  <a:lnTo>
                    <a:pt x="78" y="14"/>
                  </a:lnTo>
                  <a:lnTo>
                    <a:pt x="78" y="19"/>
                  </a:lnTo>
                  <a:lnTo>
                    <a:pt x="65" y="34"/>
                  </a:lnTo>
                  <a:lnTo>
                    <a:pt x="28" y="73"/>
                  </a:lnTo>
                  <a:lnTo>
                    <a:pt x="25" y="76"/>
                  </a:lnTo>
                  <a:lnTo>
                    <a:pt x="11" y="9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îslïde">
              <a:extLst>
                <a:ext uri="{FF2B5EF4-FFF2-40B4-BE49-F238E27FC236}">
                  <a16:creationId xmlns:a16="http://schemas.microsoft.com/office/drawing/2014/main" id="{E4E052A4-625C-456E-97E6-EFECADA18943}"/>
                </a:ext>
              </a:extLst>
            </p:cNvPr>
            <p:cNvSpPr/>
            <p:nvPr/>
          </p:nvSpPr>
          <p:spPr bwMode="auto">
            <a:xfrm>
              <a:off x="7310438" y="3322638"/>
              <a:ext cx="77788" cy="80963"/>
            </a:xfrm>
            <a:custGeom>
              <a:avLst/>
              <a:gdLst>
                <a:gd name="T0" fmla="*/ 0 w 49"/>
                <a:gd name="T1" fmla="*/ 40 h 51"/>
                <a:gd name="T2" fmla="*/ 37 w 49"/>
                <a:gd name="T3" fmla="*/ 0 h 51"/>
                <a:gd name="T4" fmla="*/ 49 w 49"/>
                <a:gd name="T5" fmla="*/ 12 h 51"/>
                <a:gd name="T6" fmla="*/ 12 w 49"/>
                <a:gd name="T7" fmla="*/ 51 h 51"/>
                <a:gd name="T8" fmla="*/ 0 w 49"/>
                <a:gd name="T9" fmla="*/ 4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1">
                  <a:moveTo>
                    <a:pt x="0" y="40"/>
                  </a:moveTo>
                  <a:lnTo>
                    <a:pt x="37" y="0"/>
                  </a:lnTo>
                  <a:lnTo>
                    <a:pt x="49" y="12"/>
                  </a:lnTo>
                  <a:lnTo>
                    <a:pt x="12" y="51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ṡ1îḋè">
              <a:extLst>
                <a:ext uri="{FF2B5EF4-FFF2-40B4-BE49-F238E27FC236}">
                  <a16:creationId xmlns:a16="http://schemas.microsoft.com/office/drawing/2014/main" id="{E1C366A4-3CFB-4FFB-A344-3ED528078FFF}"/>
                </a:ext>
              </a:extLst>
            </p:cNvPr>
            <p:cNvSpPr/>
            <p:nvPr/>
          </p:nvSpPr>
          <p:spPr bwMode="auto">
            <a:xfrm>
              <a:off x="7342188" y="3282950"/>
              <a:ext cx="80963" cy="179388"/>
            </a:xfrm>
            <a:custGeom>
              <a:avLst/>
              <a:gdLst>
                <a:gd name="T0" fmla="*/ 17 w 59"/>
                <a:gd name="T1" fmla="*/ 2 h 130"/>
                <a:gd name="T2" fmla="*/ 52 w 59"/>
                <a:gd name="T3" fmla="*/ 60 h 130"/>
                <a:gd name="T4" fmla="*/ 42 w 59"/>
                <a:gd name="T5" fmla="*/ 127 h 130"/>
                <a:gd name="T6" fmla="*/ 8 w 59"/>
                <a:gd name="T7" fmla="*/ 69 h 130"/>
                <a:gd name="T8" fmla="*/ 17 w 59"/>
                <a:gd name="T9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30">
                  <a:moveTo>
                    <a:pt x="17" y="2"/>
                  </a:moveTo>
                  <a:cubicBezTo>
                    <a:pt x="29" y="0"/>
                    <a:pt x="45" y="26"/>
                    <a:pt x="52" y="60"/>
                  </a:cubicBezTo>
                  <a:cubicBezTo>
                    <a:pt x="59" y="95"/>
                    <a:pt x="55" y="125"/>
                    <a:pt x="42" y="127"/>
                  </a:cubicBezTo>
                  <a:cubicBezTo>
                    <a:pt x="30" y="130"/>
                    <a:pt x="15" y="104"/>
                    <a:pt x="8" y="69"/>
                  </a:cubicBezTo>
                  <a:cubicBezTo>
                    <a:pt x="0" y="35"/>
                    <a:pt x="5" y="5"/>
                    <a:pt x="17" y="2"/>
                  </a:cubicBez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iś1iḋé">
              <a:extLst>
                <a:ext uri="{FF2B5EF4-FFF2-40B4-BE49-F238E27FC236}">
                  <a16:creationId xmlns:a16="http://schemas.microsoft.com/office/drawing/2014/main" id="{52EC5E56-0675-49EE-ACCF-BDDC4699CD86}"/>
                </a:ext>
              </a:extLst>
            </p:cNvPr>
            <p:cNvSpPr/>
            <p:nvPr/>
          </p:nvSpPr>
          <p:spPr bwMode="auto">
            <a:xfrm>
              <a:off x="7651750" y="5200650"/>
              <a:ext cx="128588" cy="93663"/>
            </a:xfrm>
            <a:custGeom>
              <a:avLst/>
              <a:gdLst>
                <a:gd name="T0" fmla="*/ 4 w 93"/>
                <a:gd name="T1" fmla="*/ 18 h 68"/>
                <a:gd name="T2" fmla="*/ 13 w 93"/>
                <a:gd name="T3" fmla="*/ 46 h 68"/>
                <a:gd name="T4" fmla="*/ 24 w 93"/>
                <a:gd name="T5" fmla="*/ 50 h 68"/>
                <a:gd name="T6" fmla="*/ 41 w 93"/>
                <a:gd name="T7" fmla="*/ 52 h 68"/>
                <a:gd name="T8" fmla="*/ 61 w 93"/>
                <a:gd name="T9" fmla="*/ 48 h 68"/>
                <a:gd name="T10" fmla="*/ 64 w 93"/>
                <a:gd name="T11" fmla="*/ 48 h 68"/>
                <a:gd name="T12" fmla="*/ 65 w 93"/>
                <a:gd name="T13" fmla="*/ 51 h 68"/>
                <a:gd name="T14" fmla="*/ 66 w 93"/>
                <a:gd name="T15" fmla="*/ 63 h 68"/>
                <a:gd name="T16" fmla="*/ 69 w 93"/>
                <a:gd name="T17" fmla="*/ 68 h 68"/>
                <a:gd name="T18" fmla="*/ 71 w 93"/>
                <a:gd name="T19" fmla="*/ 68 h 68"/>
                <a:gd name="T20" fmla="*/ 92 w 93"/>
                <a:gd name="T21" fmla="*/ 68 h 68"/>
                <a:gd name="T22" fmla="*/ 86 w 93"/>
                <a:gd name="T23" fmla="*/ 12 h 68"/>
                <a:gd name="T24" fmla="*/ 85 w 93"/>
                <a:gd name="T25" fmla="*/ 8 h 68"/>
                <a:gd name="T26" fmla="*/ 78 w 93"/>
                <a:gd name="T27" fmla="*/ 4 h 68"/>
                <a:gd name="T28" fmla="*/ 61 w 93"/>
                <a:gd name="T29" fmla="*/ 1 h 68"/>
                <a:gd name="T30" fmla="*/ 42 w 93"/>
                <a:gd name="T31" fmla="*/ 10 h 68"/>
                <a:gd name="T32" fmla="*/ 21 w 93"/>
                <a:gd name="T33" fmla="*/ 15 h 68"/>
                <a:gd name="T34" fmla="*/ 4 w 93"/>
                <a:gd name="T35" fmla="*/ 1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68">
                  <a:moveTo>
                    <a:pt x="4" y="18"/>
                  </a:moveTo>
                  <a:cubicBezTo>
                    <a:pt x="0" y="28"/>
                    <a:pt x="4" y="40"/>
                    <a:pt x="13" y="46"/>
                  </a:cubicBezTo>
                  <a:cubicBezTo>
                    <a:pt x="16" y="48"/>
                    <a:pt x="20" y="49"/>
                    <a:pt x="24" y="50"/>
                  </a:cubicBezTo>
                  <a:cubicBezTo>
                    <a:pt x="30" y="51"/>
                    <a:pt x="35" y="52"/>
                    <a:pt x="41" y="52"/>
                  </a:cubicBezTo>
                  <a:cubicBezTo>
                    <a:pt x="48" y="52"/>
                    <a:pt x="54" y="49"/>
                    <a:pt x="61" y="48"/>
                  </a:cubicBezTo>
                  <a:cubicBezTo>
                    <a:pt x="62" y="48"/>
                    <a:pt x="63" y="48"/>
                    <a:pt x="64" y="48"/>
                  </a:cubicBezTo>
                  <a:cubicBezTo>
                    <a:pt x="64" y="49"/>
                    <a:pt x="65" y="50"/>
                    <a:pt x="65" y="51"/>
                  </a:cubicBezTo>
                  <a:cubicBezTo>
                    <a:pt x="65" y="55"/>
                    <a:pt x="65" y="59"/>
                    <a:pt x="66" y="63"/>
                  </a:cubicBezTo>
                  <a:cubicBezTo>
                    <a:pt x="65" y="65"/>
                    <a:pt x="67" y="68"/>
                    <a:pt x="69" y="68"/>
                  </a:cubicBezTo>
                  <a:cubicBezTo>
                    <a:pt x="70" y="68"/>
                    <a:pt x="70" y="68"/>
                    <a:pt x="71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3" y="49"/>
                    <a:pt x="91" y="30"/>
                    <a:pt x="86" y="12"/>
                  </a:cubicBezTo>
                  <a:cubicBezTo>
                    <a:pt x="86" y="10"/>
                    <a:pt x="85" y="9"/>
                    <a:pt x="85" y="8"/>
                  </a:cubicBezTo>
                  <a:cubicBezTo>
                    <a:pt x="83" y="5"/>
                    <a:pt x="80" y="4"/>
                    <a:pt x="78" y="4"/>
                  </a:cubicBezTo>
                  <a:cubicBezTo>
                    <a:pt x="72" y="1"/>
                    <a:pt x="67" y="0"/>
                    <a:pt x="61" y="1"/>
                  </a:cubicBezTo>
                  <a:cubicBezTo>
                    <a:pt x="54" y="1"/>
                    <a:pt x="48" y="6"/>
                    <a:pt x="42" y="10"/>
                  </a:cubicBezTo>
                  <a:cubicBezTo>
                    <a:pt x="36" y="14"/>
                    <a:pt x="28" y="17"/>
                    <a:pt x="21" y="15"/>
                  </a:cubicBezTo>
                  <a:cubicBezTo>
                    <a:pt x="14" y="13"/>
                    <a:pt x="8" y="7"/>
                    <a:pt x="4" y="18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ṥļîḓè">
              <a:extLst>
                <a:ext uri="{FF2B5EF4-FFF2-40B4-BE49-F238E27FC236}">
                  <a16:creationId xmlns:a16="http://schemas.microsoft.com/office/drawing/2014/main" id="{43A90F11-459B-4B66-B7FE-1029F345347A}"/>
                </a:ext>
              </a:extLst>
            </p:cNvPr>
            <p:cNvSpPr/>
            <p:nvPr/>
          </p:nvSpPr>
          <p:spPr bwMode="auto">
            <a:xfrm>
              <a:off x="7180263" y="5183188"/>
              <a:ext cx="60325" cy="65088"/>
            </a:xfrm>
            <a:custGeom>
              <a:avLst/>
              <a:gdLst>
                <a:gd name="T0" fmla="*/ 27 w 43"/>
                <a:gd name="T1" fmla="*/ 13 h 47"/>
                <a:gd name="T2" fmla="*/ 6 w 43"/>
                <a:gd name="T3" fmla="*/ 28 h 47"/>
                <a:gd name="T4" fmla="*/ 2 w 43"/>
                <a:gd name="T5" fmla="*/ 30 h 47"/>
                <a:gd name="T6" fmla="*/ 1 w 43"/>
                <a:gd name="T7" fmla="*/ 31 h 47"/>
                <a:gd name="T8" fmla="*/ 1 w 43"/>
                <a:gd name="T9" fmla="*/ 33 h 47"/>
                <a:gd name="T10" fmla="*/ 30 w 43"/>
                <a:gd name="T11" fmla="*/ 44 h 47"/>
                <a:gd name="T12" fmla="*/ 37 w 43"/>
                <a:gd name="T13" fmla="*/ 40 h 47"/>
                <a:gd name="T14" fmla="*/ 42 w 43"/>
                <a:gd name="T15" fmla="*/ 27 h 47"/>
                <a:gd name="T16" fmla="*/ 41 w 43"/>
                <a:gd name="T17" fmla="*/ 13 h 47"/>
                <a:gd name="T18" fmla="*/ 27 w 43"/>
                <a:gd name="T19" fmla="*/ 1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7">
                  <a:moveTo>
                    <a:pt x="27" y="13"/>
                  </a:moveTo>
                  <a:cubicBezTo>
                    <a:pt x="21" y="20"/>
                    <a:pt x="14" y="25"/>
                    <a:pt x="6" y="28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" y="30"/>
                    <a:pt x="1" y="31"/>
                    <a:pt x="1" y="31"/>
                  </a:cubicBezTo>
                  <a:cubicBezTo>
                    <a:pt x="0" y="32"/>
                    <a:pt x="1" y="32"/>
                    <a:pt x="1" y="33"/>
                  </a:cubicBezTo>
                  <a:cubicBezTo>
                    <a:pt x="7" y="43"/>
                    <a:pt x="19" y="47"/>
                    <a:pt x="30" y="44"/>
                  </a:cubicBezTo>
                  <a:cubicBezTo>
                    <a:pt x="33" y="43"/>
                    <a:pt x="35" y="42"/>
                    <a:pt x="37" y="40"/>
                  </a:cubicBezTo>
                  <a:cubicBezTo>
                    <a:pt x="40" y="37"/>
                    <a:pt x="42" y="32"/>
                    <a:pt x="42" y="27"/>
                  </a:cubicBezTo>
                  <a:cubicBezTo>
                    <a:pt x="43" y="22"/>
                    <a:pt x="43" y="17"/>
                    <a:pt x="41" y="13"/>
                  </a:cubicBezTo>
                  <a:cubicBezTo>
                    <a:pt x="36" y="0"/>
                    <a:pt x="34" y="6"/>
                    <a:pt x="27" y="13"/>
                  </a:cubicBez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ïṧḷiḓé">
              <a:extLst>
                <a:ext uri="{FF2B5EF4-FFF2-40B4-BE49-F238E27FC236}">
                  <a16:creationId xmlns:a16="http://schemas.microsoft.com/office/drawing/2014/main" id="{8ED3B37B-0DFA-4463-874B-46A02A124F92}"/>
                </a:ext>
              </a:extLst>
            </p:cNvPr>
            <p:cNvSpPr/>
            <p:nvPr/>
          </p:nvSpPr>
          <p:spPr bwMode="auto">
            <a:xfrm>
              <a:off x="7145338" y="5192713"/>
              <a:ext cx="190500" cy="90488"/>
            </a:xfrm>
            <a:custGeom>
              <a:avLst/>
              <a:gdLst>
                <a:gd name="T0" fmla="*/ 137 w 139"/>
                <a:gd name="T1" fmla="*/ 56 h 66"/>
                <a:gd name="T2" fmla="*/ 136 w 139"/>
                <a:gd name="T3" fmla="*/ 60 h 66"/>
                <a:gd name="T4" fmla="*/ 125 w 139"/>
                <a:gd name="T5" fmla="*/ 63 h 66"/>
                <a:gd name="T6" fmla="*/ 120 w 139"/>
                <a:gd name="T7" fmla="*/ 22 h 66"/>
                <a:gd name="T8" fmla="*/ 102 w 139"/>
                <a:gd name="T9" fmla="*/ 36 h 66"/>
                <a:gd name="T10" fmla="*/ 92 w 139"/>
                <a:gd name="T11" fmla="*/ 53 h 66"/>
                <a:gd name="T12" fmla="*/ 85 w 139"/>
                <a:gd name="T13" fmla="*/ 60 h 66"/>
                <a:gd name="T14" fmla="*/ 78 w 139"/>
                <a:gd name="T15" fmla="*/ 63 h 66"/>
                <a:gd name="T16" fmla="*/ 17 w 139"/>
                <a:gd name="T17" fmla="*/ 53 h 66"/>
                <a:gd name="T18" fmla="*/ 9 w 139"/>
                <a:gd name="T19" fmla="*/ 50 h 66"/>
                <a:gd name="T20" fmla="*/ 5 w 139"/>
                <a:gd name="T21" fmla="*/ 27 h 66"/>
                <a:gd name="T22" fmla="*/ 42 w 139"/>
                <a:gd name="T23" fmla="*/ 9 h 66"/>
                <a:gd name="T24" fmla="*/ 37 w 139"/>
                <a:gd name="T25" fmla="*/ 28 h 66"/>
                <a:gd name="T26" fmla="*/ 71 w 139"/>
                <a:gd name="T27" fmla="*/ 5 h 66"/>
                <a:gd name="T28" fmla="*/ 81 w 139"/>
                <a:gd name="T29" fmla="*/ 1 h 66"/>
                <a:gd name="T30" fmla="*/ 89 w 139"/>
                <a:gd name="T31" fmla="*/ 1 h 66"/>
                <a:gd name="T32" fmla="*/ 124 w 139"/>
                <a:gd name="T33" fmla="*/ 19 h 66"/>
                <a:gd name="T34" fmla="*/ 137 w 139"/>
                <a:gd name="T35" fmla="*/ 32 h 66"/>
                <a:gd name="T36" fmla="*/ 137 w 139"/>
                <a:gd name="T37" fmla="*/ 5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66">
                  <a:moveTo>
                    <a:pt x="137" y="56"/>
                  </a:moveTo>
                  <a:cubicBezTo>
                    <a:pt x="137" y="57"/>
                    <a:pt x="137" y="59"/>
                    <a:pt x="136" y="60"/>
                  </a:cubicBezTo>
                  <a:cubicBezTo>
                    <a:pt x="134" y="64"/>
                    <a:pt x="129" y="64"/>
                    <a:pt x="125" y="63"/>
                  </a:cubicBezTo>
                  <a:cubicBezTo>
                    <a:pt x="124" y="49"/>
                    <a:pt x="123" y="36"/>
                    <a:pt x="120" y="22"/>
                  </a:cubicBezTo>
                  <a:cubicBezTo>
                    <a:pt x="112" y="22"/>
                    <a:pt x="106" y="29"/>
                    <a:pt x="102" y="36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0" y="56"/>
                    <a:pt x="88" y="58"/>
                    <a:pt x="85" y="60"/>
                  </a:cubicBezTo>
                  <a:cubicBezTo>
                    <a:pt x="83" y="62"/>
                    <a:pt x="81" y="62"/>
                    <a:pt x="78" y="63"/>
                  </a:cubicBezTo>
                  <a:cubicBezTo>
                    <a:pt x="58" y="66"/>
                    <a:pt x="37" y="60"/>
                    <a:pt x="17" y="53"/>
                  </a:cubicBezTo>
                  <a:cubicBezTo>
                    <a:pt x="14" y="52"/>
                    <a:pt x="12" y="51"/>
                    <a:pt x="9" y="50"/>
                  </a:cubicBezTo>
                  <a:cubicBezTo>
                    <a:pt x="2" y="44"/>
                    <a:pt x="0" y="34"/>
                    <a:pt x="5" y="27"/>
                  </a:cubicBezTo>
                  <a:cubicBezTo>
                    <a:pt x="13" y="15"/>
                    <a:pt x="32" y="19"/>
                    <a:pt x="42" y="9"/>
                  </a:cubicBezTo>
                  <a:cubicBezTo>
                    <a:pt x="41" y="16"/>
                    <a:pt x="39" y="22"/>
                    <a:pt x="37" y="28"/>
                  </a:cubicBezTo>
                  <a:cubicBezTo>
                    <a:pt x="51" y="26"/>
                    <a:pt x="60" y="14"/>
                    <a:pt x="71" y="5"/>
                  </a:cubicBezTo>
                  <a:cubicBezTo>
                    <a:pt x="74" y="3"/>
                    <a:pt x="77" y="1"/>
                    <a:pt x="81" y="1"/>
                  </a:cubicBezTo>
                  <a:cubicBezTo>
                    <a:pt x="84" y="0"/>
                    <a:pt x="86" y="1"/>
                    <a:pt x="89" y="1"/>
                  </a:cubicBezTo>
                  <a:cubicBezTo>
                    <a:pt x="102" y="5"/>
                    <a:pt x="114" y="11"/>
                    <a:pt x="124" y="19"/>
                  </a:cubicBezTo>
                  <a:cubicBezTo>
                    <a:pt x="128" y="22"/>
                    <a:pt x="135" y="27"/>
                    <a:pt x="137" y="32"/>
                  </a:cubicBezTo>
                  <a:cubicBezTo>
                    <a:pt x="139" y="38"/>
                    <a:pt x="137" y="49"/>
                    <a:pt x="137" y="56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ṧ1iḍê">
              <a:extLst>
                <a:ext uri="{FF2B5EF4-FFF2-40B4-BE49-F238E27FC236}">
                  <a16:creationId xmlns:a16="http://schemas.microsoft.com/office/drawing/2014/main" id="{9B6982DC-8EEA-4111-B296-82EF28B7E691}"/>
                </a:ext>
              </a:extLst>
            </p:cNvPr>
            <p:cNvSpPr/>
            <p:nvPr/>
          </p:nvSpPr>
          <p:spPr bwMode="auto">
            <a:xfrm>
              <a:off x="7597775" y="3228975"/>
              <a:ext cx="227013" cy="227013"/>
            </a:xfrm>
            <a:prstGeom prst="ellipse">
              <a:avLst/>
            </a:pr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şļíḍè">
              <a:extLst>
                <a:ext uri="{FF2B5EF4-FFF2-40B4-BE49-F238E27FC236}">
                  <a16:creationId xmlns:a16="http://schemas.microsoft.com/office/drawing/2014/main" id="{5AED2E65-BC85-4EDF-96DE-41C28E1E2A2B}"/>
                </a:ext>
              </a:extLst>
            </p:cNvPr>
            <p:cNvSpPr/>
            <p:nvPr/>
          </p:nvSpPr>
          <p:spPr bwMode="auto">
            <a:xfrm>
              <a:off x="7816850" y="3973513"/>
              <a:ext cx="120650" cy="280988"/>
            </a:xfrm>
            <a:custGeom>
              <a:avLst/>
              <a:gdLst>
                <a:gd name="T0" fmla="*/ 87 w 87"/>
                <a:gd name="T1" fmla="*/ 28 h 204"/>
                <a:gd name="T2" fmla="*/ 80 w 87"/>
                <a:gd name="T3" fmla="*/ 75 h 204"/>
                <a:gd name="T4" fmla="*/ 65 w 87"/>
                <a:gd name="T5" fmla="*/ 131 h 204"/>
                <a:gd name="T6" fmla="*/ 54 w 87"/>
                <a:gd name="T7" fmla="*/ 172 h 204"/>
                <a:gd name="T8" fmla="*/ 52 w 87"/>
                <a:gd name="T9" fmla="*/ 189 h 204"/>
                <a:gd name="T10" fmla="*/ 40 w 87"/>
                <a:gd name="T11" fmla="*/ 196 h 204"/>
                <a:gd name="T12" fmla="*/ 30 w 87"/>
                <a:gd name="T13" fmla="*/ 204 h 204"/>
                <a:gd name="T14" fmla="*/ 22 w 87"/>
                <a:gd name="T15" fmla="*/ 186 h 204"/>
                <a:gd name="T16" fmla="*/ 2 w 87"/>
                <a:gd name="T17" fmla="*/ 120 h 204"/>
                <a:gd name="T18" fmla="*/ 2 w 87"/>
                <a:gd name="T19" fmla="*/ 112 h 204"/>
                <a:gd name="T20" fmla="*/ 6 w 87"/>
                <a:gd name="T21" fmla="*/ 110 h 204"/>
                <a:gd name="T22" fmla="*/ 17 w 87"/>
                <a:gd name="T23" fmla="*/ 103 h 204"/>
                <a:gd name="T24" fmla="*/ 20 w 87"/>
                <a:gd name="T25" fmla="*/ 98 h 204"/>
                <a:gd name="T26" fmla="*/ 22 w 87"/>
                <a:gd name="T27" fmla="*/ 89 h 204"/>
                <a:gd name="T28" fmla="*/ 22 w 87"/>
                <a:gd name="T29" fmla="*/ 57 h 204"/>
                <a:gd name="T30" fmla="*/ 23 w 87"/>
                <a:gd name="T31" fmla="*/ 28 h 204"/>
                <a:gd name="T32" fmla="*/ 23 w 87"/>
                <a:gd name="T33" fmla="*/ 20 h 204"/>
                <a:gd name="T34" fmla="*/ 29 w 87"/>
                <a:gd name="T35" fmla="*/ 4 h 204"/>
                <a:gd name="T36" fmla="*/ 55 w 87"/>
                <a:gd name="T37" fmla="*/ 5 h 204"/>
                <a:gd name="T38" fmla="*/ 84 w 87"/>
                <a:gd name="T39" fmla="*/ 10 h 204"/>
                <a:gd name="T40" fmla="*/ 87 w 87"/>
                <a:gd name="T41" fmla="*/ 2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7" h="204">
                  <a:moveTo>
                    <a:pt x="87" y="28"/>
                  </a:moveTo>
                  <a:cubicBezTo>
                    <a:pt x="86" y="44"/>
                    <a:pt x="84" y="60"/>
                    <a:pt x="80" y="75"/>
                  </a:cubicBezTo>
                  <a:cubicBezTo>
                    <a:pt x="76" y="94"/>
                    <a:pt x="71" y="113"/>
                    <a:pt x="65" y="131"/>
                  </a:cubicBezTo>
                  <a:cubicBezTo>
                    <a:pt x="60" y="144"/>
                    <a:pt x="54" y="158"/>
                    <a:pt x="54" y="172"/>
                  </a:cubicBezTo>
                  <a:cubicBezTo>
                    <a:pt x="54" y="178"/>
                    <a:pt x="55" y="184"/>
                    <a:pt x="52" y="189"/>
                  </a:cubicBezTo>
                  <a:cubicBezTo>
                    <a:pt x="48" y="192"/>
                    <a:pt x="44" y="194"/>
                    <a:pt x="40" y="196"/>
                  </a:cubicBezTo>
                  <a:cubicBezTo>
                    <a:pt x="35" y="197"/>
                    <a:pt x="32" y="200"/>
                    <a:pt x="30" y="204"/>
                  </a:cubicBezTo>
                  <a:cubicBezTo>
                    <a:pt x="26" y="199"/>
                    <a:pt x="23" y="193"/>
                    <a:pt x="22" y="186"/>
                  </a:cubicBezTo>
                  <a:cubicBezTo>
                    <a:pt x="14" y="164"/>
                    <a:pt x="8" y="142"/>
                    <a:pt x="2" y="120"/>
                  </a:cubicBezTo>
                  <a:cubicBezTo>
                    <a:pt x="0" y="117"/>
                    <a:pt x="1" y="114"/>
                    <a:pt x="2" y="112"/>
                  </a:cubicBezTo>
                  <a:cubicBezTo>
                    <a:pt x="3" y="111"/>
                    <a:pt x="4" y="110"/>
                    <a:pt x="6" y="110"/>
                  </a:cubicBezTo>
                  <a:cubicBezTo>
                    <a:pt x="10" y="108"/>
                    <a:pt x="14" y="106"/>
                    <a:pt x="17" y="103"/>
                  </a:cubicBezTo>
                  <a:cubicBezTo>
                    <a:pt x="18" y="101"/>
                    <a:pt x="20" y="100"/>
                    <a:pt x="20" y="98"/>
                  </a:cubicBezTo>
                  <a:cubicBezTo>
                    <a:pt x="22" y="95"/>
                    <a:pt x="22" y="92"/>
                    <a:pt x="22" y="89"/>
                  </a:cubicBezTo>
                  <a:cubicBezTo>
                    <a:pt x="22" y="78"/>
                    <a:pt x="22" y="68"/>
                    <a:pt x="22" y="57"/>
                  </a:cubicBezTo>
                  <a:cubicBezTo>
                    <a:pt x="22" y="47"/>
                    <a:pt x="22" y="38"/>
                    <a:pt x="23" y="28"/>
                  </a:cubicBezTo>
                  <a:cubicBezTo>
                    <a:pt x="23" y="26"/>
                    <a:pt x="23" y="23"/>
                    <a:pt x="23" y="20"/>
                  </a:cubicBezTo>
                  <a:cubicBezTo>
                    <a:pt x="24" y="13"/>
                    <a:pt x="25" y="6"/>
                    <a:pt x="29" y="4"/>
                  </a:cubicBezTo>
                  <a:cubicBezTo>
                    <a:pt x="34" y="0"/>
                    <a:pt x="49" y="5"/>
                    <a:pt x="55" y="5"/>
                  </a:cubicBezTo>
                  <a:cubicBezTo>
                    <a:pt x="65" y="7"/>
                    <a:pt x="75" y="8"/>
                    <a:pt x="84" y="10"/>
                  </a:cubicBezTo>
                  <a:cubicBezTo>
                    <a:pt x="86" y="16"/>
                    <a:pt x="87" y="22"/>
                    <a:pt x="87" y="28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ṡľîḑe">
              <a:extLst>
                <a:ext uri="{FF2B5EF4-FFF2-40B4-BE49-F238E27FC236}">
                  <a16:creationId xmlns:a16="http://schemas.microsoft.com/office/drawing/2014/main" id="{A3852AA9-058C-4CB8-93BF-CDD4EFC7DA0B}"/>
                </a:ext>
              </a:extLst>
            </p:cNvPr>
            <p:cNvSpPr/>
            <p:nvPr/>
          </p:nvSpPr>
          <p:spPr bwMode="auto">
            <a:xfrm>
              <a:off x="7351713" y="3352800"/>
              <a:ext cx="128588" cy="158750"/>
            </a:xfrm>
            <a:custGeom>
              <a:avLst/>
              <a:gdLst>
                <a:gd name="T0" fmla="*/ 91 w 93"/>
                <a:gd name="T1" fmla="*/ 84 h 115"/>
                <a:gd name="T2" fmla="*/ 74 w 93"/>
                <a:gd name="T3" fmla="*/ 97 h 115"/>
                <a:gd name="T4" fmla="*/ 54 w 93"/>
                <a:gd name="T5" fmla="*/ 111 h 115"/>
                <a:gd name="T6" fmla="*/ 44 w 93"/>
                <a:gd name="T7" fmla="*/ 115 h 115"/>
                <a:gd name="T8" fmla="*/ 36 w 93"/>
                <a:gd name="T9" fmla="*/ 108 h 115"/>
                <a:gd name="T10" fmla="*/ 36 w 93"/>
                <a:gd name="T11" fmla="*/ 107 h 115"/>
                <a:gd name="T12" fmla="*/ 32 w 93"/>
                <a:gd name="T13" fmla="*/ 100 h 115"/>
                <a:gd name="T14" fmla="*/ 12 w 93"/>
                <a:gd name="T15" fmla="*/ 67 h 115"/>
                <a:gd name="T16" fmla="*/ 8 w 93"/>
                <a:gd name="T17" fmla="*/ 56 h 115"/>
                <a:gd name="T18" fmla="*/ 9 w 93"/>
                <a:gd name="T19" fmla="*/ 51 h 115"/>
                <a:gd name="T20" fmla="*/ 5 w 93"/>
                <a:gd name="T21" fmla="*/ 38 h 115"/>
                <a:gd name="T22" fmla="*/ 0 w 93"/>
                <a:gd name="T23" fmla="*/ 29 h 115"/>
                <a:gd name="T24" fmla="*/ 3 w 93"/>
                <a:gd name="T25" fmla="*/ 16 h 115"/>
                <a:gd name="T26" fmla="*/ 11 w 93"/>
                <a:gd name="T27" fmla="*/ 7 h 115"/>
                <a:gd name="T28" fmla="*/ 17 w 93"/>
                <a:gd name="T29" fmla="*/ 3 h 115"/>
                <a:gd name="T30" fmla="*/ 21 w 93"/>
                <a:gd name="T31" fmla="*/ 1 h 115"/>
                <a:gd name="T32" fmla="*/ 31 w 93"/>
                <a:gd name="T33" fmla="*/ 3 h 115"/>
                <a:gd name="T34" fmla="*/ 62 w 93"/>
                <a:gd name="T35" fmla="*/ 45 h 115"/>
                <a:gd name="T36" fmla="*/ 76 w 93"/>
                <a:gd name="T37" fmla="*/ 65 h 115"/>
                <a:gd name="T38" fmla="*/ 80 w 93"/>
                <a:gd name="T39" fmla="*/ 68 h 115"/>
                <a:gd name="T40" fmla="*/ 83 w 93"/>
                <a:gd name="T41" fmla="*/ 73 h 115"/>
                <a:gd name="T42" fmla="*/ 91 w 93"/>
                <a:gd name="T43" fmla="*/ 8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115">
                  <a:moveTo>
                    <a:pt x="91" y="84"/>
                  </a:moveTo>
                  <a:cubicBezTo>
                    <a:pt x="88" y="90"/>
                    <a:pt x="80" y="93"/>
                    <a:pt x="74" y="97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51" y="114"/>
                    <a:pt x="48" y="115"/>
                    <a:pt x="44" y="115"/>
                  </a:cubicBezTo>
                  <a:cubicBezTo>
                    <a:pt x="41" y="113"/>
                    <a:pt x="38" y="111"/>
                    <a:pt x="36" y="108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0" y="64"/>
                    <a:pt x="9" y="60"/>
                    <a:pt x="8" y="56"/>
                  </a:cubicBezTo>
                  <a:cubicBezTo>
                    <a:pt x="8" y="55"/>
                    <a:pt x="9" y="53"/>
                    <a:pt x="9" y="51"/>
                  </a:cubicBezTo>
                  <a:cubicBezTo>
                    <a:pt x="9" y="47"/>
                    <a:pt x="8" y="42"/>
                    <a:pt x="5" y="38"/>
                  </a:cubicBezTo>
                  <a:cubicBezTo>
                    <a:pt x="4" y="35"/>
                    <a:pt x="0" y="32"/>
                    <a:pt x="0" y="29"/>
                  </a:cubicBezTo>
                  <a:cubicBezTo>
                    <a:pt x="0" y="25"/>
                    <a:pt x="1" y="20"/>
                    <a:pt x="3" y="16"/>
                  </a:cubicBezTo>
                  <a:cubicBezTo>
                    <a:pt x="5" y="12"/>
                    <a:pt x="8" y="9"/>
                    <a:pt x="11" y="7"/>
                  </a:cubicBezTo>
                  <a:cubicBezTo>
                    <a:pt x="13" y="5"/>
                    <a:pt x="15" y="4"/>
                    <a:pt x="17" y="3"/>
                  </a:cubicBezTo>
                  <a:cubicBezTo>
                    <a:pt x="18" y="2"/>
                    <a:pt x="20" y="1"/>
                    <a:pt x="21" y="1"/>
                  </a:cubicBezTo>
                  <a:cubicBezTo>
                    <a:pt x="24" y="0"/>
                    <a:pt x="27" y="3"/>
                    <a:pt x="31" y="3"/>
                  </a:cubicBezTo>
                  <a:cubicBezTo>
                    <a:pt x="45" y="13"/>
                    <a:pt x="51" y="31"/>
                    <a:pt x="62" y="45"/>
                  </a:cubicBezTo>
                  <a:cubicBezTo>
                    <a:pt x="68" y="52"/>
                    <a:pt x="69" y="58"/>
                    <a:pt x="76" y="65"/>
                  </a:cubicBezTo>
                  <a:cubicBezTo>
                    <a:pt x="78" y="66"/>
                    <a:pt x="79" y="67"/>
                    <a:pt x="80" y="68"/>
                  </a:cubicBezTo>
                  <a:cubicBezTo>
                    <a:pt x="81" y="69"/>
                    <a:pt x="82" y="71"/>
                    <a:pt x="83" y="73"/>
                  </a:cubicBezTo>
                  <a:cubicBezTo>
                    <a:pt x="85" y="76"/>
                    <a:pt x="93" y="81"/>
                    <a:pt x="91" y="84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śľiďé">
              <a:extLst>
                <a:ext uri="{FF2B5EF4-FFF2-40B4-BE49-F238E27FC236}">
                  <a16:creationId xmlns:a16="http://schemas.microsoft.com/office/drawing/2014/main" id="{503DBF0B-E7B4-40F0-8CFD-560261FEA29A}"/>
                </a:ext>
              </a:extLst>
            </p:cNvPr>
            <p:cNvSpPr/>
            <p:nvPr/>
          </p:nvSpPr>
          <p:spPr bwMode="auto">
            <a:xfrm>
              <a:off x="7620000" y="3371850"/>
              <a:ext cx="258763" cy="222250"/>
            </a:xfrm>
            <a:custGeom>
              <a:avLst/>
              <a:gdLst>
                <a:gd name="T0" fmla="*/ 38 w 188"/>
                <a:gd name="T1" fmla="*/ 61 h 162"/>
                <a:gd name="T2" fmla="*/ 47 w 188"/>
                <a:gd name="T3" fmla="*/ 101 h 162"/>
                <a:gd name="T4" fmla="*/ 43 w 188"/>
                <a:gd name="T5" fmla="*/ 112 h 162"/>
                <a:gd name="T6" fmla="*/ 15 w 188"/>
                <a:gd name="T7" fmla="*/ 123 h 162"/>
                <a:gd name="T8" fmla="*/ 3 w 188"/>
                <a:gd name="T9" fmla="*/ 127 h 162"/>
                <a:gd name="T10" fmla="*/ 3 w 188"/>
                <a:gd name="T11" fmla="*/ 141 h 162"/>
                <a:gd name="T12" fmla="*/ 16 w 188"/>
                <a:gd name="T13" fmla="*/ 149 h 162"/>
                <a:gd name="T14" fmla="*/ 68 w 188"/>
                <a:gd name="T15" fmla="*/ 160 h 162"/>
                <a:gd name="T16" fmla="*/ 93 w 188"/>
                <a:gd name="T17" fmla="*/ 156 h 162"/>
                <a:gd name="T18" fmla="*/ 120 w 188"/>
                <a:gd name="T19" fmla="*/ 155 h 162"/>
                <a:gd name="T20" fmla="*/ 153 w 188"/>
                <a:gd name="T21" fmla="*/ 152 h 162"/>
                <a:gd name="T22" fmla="*/ 182 w 188"/>
                <a:gd name="T23" fmla="*/ 149 h 162"/>
                <a:gd name="T24" fmla="*/ 186 w 188"/>
                <a:gd name="T25" fmla="*/ 148 h 162"/>
                <a:gd name="T26" fmla="*/ 183 w 188"/>
                <a:gd name="T27" fmla="*/ 140 h 162"/>
                <a:gd name="T28" fmla="*/ 139 w 188"/>
                <a:gd name="T29" fmla="*/ 104 h 162"/>
                <a:gd name="T30" fmla="*/ 131 w 188"/>
                <a:gd name="T31" fmla="*/ 77 h 162"/>
                <a:gd name="T32" fmla="*/ 122 w 188"/>
                <a:gd name="T33" fmla="*/ 52 h 162"/>
                <a:gd name="T34" fmla="*/ 120 w 188"/>
                <a:gd name="T35" fmla="*/ 29 h 162"/>
                <a:gd name="T36" fmla="*/ 112 w 188"/>
                <a:gd name="T37" fmla="*/ 8 h 162"/>
                <a:gd name="T38" fmla="*/ 91 w 188"/>
                <a:gd name="T39" fmla="*/ 1 h 162"/>
                <a:gd name="T40" fmla="*/ 38 w 188"/>
                <a:gd name="T41" fmla="*/ 18 h 162"/>
                <a:gd name="T42" fmla="*/ 27 w 188"/>
                <a:gd name="T43" fmla="*/ 29 h 162"/>
                <a:gd name="T44" fmla="*/ 21 w 188"/>
                <a:gd name="T45" fmla="*/ 38 h 162"/>
                <a:gd name="T46" fmla="*/ 31 w 188"/>
                <a:gd name="T47" fmla="*/ 48 h 162"/>
                <a:gd name="T48" fmla="*/ 38 w 188"/>
                <a:gd name="T49" fmla="*/ 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8" h="162">
                  <a:moveTo>
                    <a:pt x="38" y="61"/>
                  </a:moveTo>
                  <a:cubicBezTo>
                    <a:pt x="44" y="74"/>
                    <a:pt x="48" y="88"/>
                    <a:pt x="47" y="101"/>
                  </a:cubicBezTo>
                  <a:cubicBezTo>
                    <a:pt x="46" y="105"/>
                    <a:pt x="45" y="109"/>
                    <a:pt x="43" y="112"/>
                  </a:cubicBezTo>
                  <a:cubicBezTo>
                    <a:pt x="37" y="121"/>
                    <a:pt x="25" y="122"/>
                    <a:pt x="15" y="123"/>
                  </a:cubicBezTo>
                  <a:cubicBezTo>
                    <a:pt x="10" y="123"/>
                    <a:pt x="6" y="124"/>
                    <a:pt x="3" y="127"/>
                  </a:cubicBezTo>
                  <a:cubicBezTo>
                    <a:pt x="0" y="131"/>
                    <a:pt x="0" y="137"/>
                    <a:pt x="3" y="141"/>
                  </a:cubicBezTo>
                  <a:cubicBezTo>
                    <a:pt x="7" y="144"/>
                    <a:pt x="11" y="147"/>
                    <a:pt x="16" y="149"/>
                  </a:cubicBezTo>
                  <a:cubicBezTo>
                    <a:pt x="32" y="156"/>
                    <a:pt x="50" y="162"/>
                    <a:pt x="68" y="160"/>
                  </a:cubicBezTo>
                  <a:cubicBezTo>
                    <a:pt x="77" y="160"/>
                    <a:pt x="85" y="157"/>
                    <a:pt x="93" y="156"/>
                  </a:cubicBezTo>
                  <a:cubicBezTo>
                    <a:pt x="102" y="155"/>
                    <a:pt x="111" y="154"/>
                    <a:pt x="120" y="155"/>
                  </a:cubicBezTo>
                  <a:cubicBezTo>
                    <a:pt x="131" y="154"/>
                    <a:pt x="142" y="153"/>
                    <a:pt x="153" y="152"/>
                  </a:cubicBezTo>
                  <a:cubicBezTo>
                    <a:pt x="182" y="149"/>
                    <a:pt x="182" y="149"/>
                    <a:pt x="182" y="149"/>
                  </a:cubicBezTo>
                  <a:cubicBezTo>
                    <a:pt x="183" y="149"/>
                    <a:pt x="185" y="149"/>
                    <a:pt x="186" y="148"/>
                  </a:cubicBezTo>
                  <a:cubicBezTo>
                    <a:pt x="188" y="145"/>
                    <a:pt x="185" y="141"/>
                    <a:pt x="183" y="140"/>
                  </a:cubicBezTo>
                  <a:cubicBezTo>
                    <a:pt x="167" y="128"/>
                    <a:pt x="148" y="121"/>
                    <a:pt x="139" y="104"/>
                  </a:cubicBezTo>
                  <a:cubicBezTo>
                    <a:pt x="135" y="96"/>
                    <a:pt x="134" y="86"/>
                    <a:pt x="131" y="77"/>
                  </a:cubicBezTo>
                  <a:cubicBezTo>
                    <a:pt x="128" y="69"/>
                    <a:pt x="123" y="61"/>
                    <a:pt x="122" y="52"/>
                  </a:cubicBezTo>
                  <a:cubicBezTo>
                    <a:pt x="121" y="44"/>
                    <a:pt x="120" y="37"/>
                    <a:pt x="120" y="29"/>
                  </a:cubicBezTo>
                  <a:cubicBezTo>
                    <a:pt x="120" y="21"/>
                    <a:pt x="118" y="13"/>
                    <a:pt x="112" y="8"/>
                  </a:cubicBezTo>
                  <a:cubicBezTo>
                    <a:pt x="107" y="2"/>
                    <a:pt x="98" y="1"/>
                    <a:pt x="91" y="1"/>
                  </a:cubicBezTo>
                  <a:cubicBezTo>
                    <a:pt x="71" y="0"/>
                    <a:pt x="51" y="4"/>
                    <a:pt x="38" y="18"/>
                  </a:cubicBezTo>
                  <a:cubicBezTo>
                    <a:pt x="34" y="21"/>
                    <a:pt x="31" y="26"/>
                    <a:pt x="27" y="29"/>
                  </a:cubicBezTo>
                  <a:cubicBezTo>
                    <a:pt x="23" y="33"/>
                    <a:pt x="18" y="33"/>
                    <a:pt x="21" y="38"/>
                  </a:cubicBezTo>
                  <a:cubicBezTo>
                    <a:pt x="23" y="42"/>
                    <a:pt x="28" y="45"/>
                    <a:pt x="31" y="48"/>
                  </a:cubicBezTo>
                  <a:cubicBezTo>
                    <a:pt x="33" y="53"/>
                    <a:pt x="36" y="57"/>
                    <a:pt x="38" y="61"/>
                  </a:cubicBezTo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íşľïdè">
              <a:extLst>
                <a:ext uri="{FF2B5EF4-FFF2-40B4-BE49-F238E27FC236}">
                  <a16:creationId xmlns:a16="http://schemas.microsoft.com/office/drawing/2014/main" id="{4BF1EC27-89C9-4BAE-B4BE-6757FB0C44B3}"/>
                </a:ext>
              </a:extLst>
            </p:cNvPr>
            <p:cNvSpPr/>
            <p:nvPr/>
          </p:nvSpPr>
          <p:spPr bwMode="auto">
            <a:xfrm>
              <a:off x="7497763" y="3473450"/>
              <a:ext cx="401638" cy="628650"/>
            </a:xfrm>
            <a:custGeom>
              <a:avLst/>
              <a:gdLst>
                <a:gd name="T0" fmla="*/ 290 w 292"/>
                <a:gd name="T1" fmla="*/ 103 h 458"/>
                <a:gd name="T2" fmla="*/ 265 w 292"/>
                <a:gd name="T3" fmla="*/ 193 h 458"/>
                <a:gd name="T4" fmla="*/ 251 w 292"/>
                <a:gd name="T5" fmla="*/ 234 h 458"/>
                <a:gd name="T6" fmla="*/ 246 w 292"/>
                <a:gd name="T7" fmla="*/ 272 h 458"/>
                <a:gd name="T8" fmla="*/ 236 w 292"/>
                <a:gd name="T9" fmla="*/ 319 h 458"/>
                <a:gd name="T10" fmla="*/ 230 w 292"/>
                <a:gd name="T11" fmla="*/ 391 h 458"/>
                <a:gd name="T12" fmla="*/ 232 w 292"/>
                <a:gd name="T13" fmla="*/ 402 h 458"/>
                <a:gd name="T14" fmla="*/ 237 w 292"/>
                <a:gd name="T15" fmla="*/ 410 h 458"/>
                <a:gd name="T16" fmla="*/ 236 w 292"/>
                <a:gd name="T17" fmla="*/ 426 h 458"/>
                <a:gd name="T18" fmla="*/ 228 w 292"/>
                <a:gd name="T19" fmla="*/ 439 h 458"/>
                <a:gd name="T20" fmla="*/ 112 w 292"/>
                <a:gd name="T21" fmla="*/ 449 h 458"/>
                <a:gd name="T22" fmla="*/ 4 w 292"/>
                <a:gd name="T23" fmla="*/ 452 h 458"/>
                <a:gd name="T24" fmla="*/ 13 w 292"/>
                <a:gd name="T25" fmla="*/ 404 h 458"/>
                <a:gd name="T26" fmla="*/ 45 w 292"/>
                <a:gd name="T27" fmla="*/ 264 h 458"/>
                <a:gd name="T28" fmla="*/ 43 w 292"/>
                <a:gd name="T29" fmla="*/ 247 h 458"/>
                <a:gd name="T30" fmla="*/ 53 w 292"/>
                <a:gd name="T31" fmla="*/ 146 h 458"/>
                <a:gd name="T32" fmla="*/ 58 w 292"/>
                <a:gd name="T33" fmla="*/ 83 h 458"/>
                <a:gd name="T34" fmla="*/ 58 w 292"/>
                <a:gd name="T35" fmla="*/ 62 h 458"/>
                <a:gd name="T36" fmla="*/ 65 w 292"/>
                <a:gd name="T37" fmla="*/ 43 h 458"/>
                <a:gd name="T38" fmla="*/ 66 w 292"/>
                <a:gd name="T39" fmla="*/ 42 h 458"/>
                <a:gd name="T40" fmla="*/ 69 w 292"/>
                <a:gd name="T41" fmla="*/ 42 h 458"/>
                <a:gd name="T42" fmla="*/ 71 w 292"/>
                <a:gd name="T43" fmla="*/ 42 h 458"/>
                <a:gd name="T44" fmla="*/ 71 w 292"/>
                <a:gd name="T45" fmla="*/ 42 h 458"/>
                <a:gd name="T46" fmla="*/ 72 w 292"/>
                <a:gd name="T47" fmla="*/ 42 h 458"/>
                <a:gd name="T48" fmla="*/ 76 w 292"/>
                <a:gd name="T49" fmla="*/ 45 h 458"/>
                <a:gd name="T50" fmla="*/ 85 w 292"/>
                <a:gd name="T51" fmla="*/ 46 h 458"/>
                <a:gd name="T52" fmla="*/ 95 w 292"/>
                <a:gd name="T53" fmla="*/ 47 h 458"/>
                <a:gd name="T54" fmla="*/ 96 w 292"/>
                <a:gd name="T55" fmla="*/ 47 h 458"/>
                <a:gd name="T56" fmla="*/ 111 w 292"/>
                <a:gd name="T57" fmla="*/ 46 h 458"/>
                <a:gd name="T58" fmla="*/ 121 w 292"/>
                <a:gd name="T59" fmla="*/ 42 h 458"/>
                <a:gd name="T60" fmla="*/ 128 w 292"/>
                <a:gd name="T61" fmla="*/ 40 h 458"/>
                <a:gd name="T62" fmla="*/ 132 w 292"/>
                <a:gd name="T63" fmla="*/ 23 h 458"/>
                <a:gd name="T64" fmla="*/ 135 w 292"/>
                <a:gd name="T65" fmla="*/ 11 h 458"/>
                <a:gd name="T66" fmla="*/ 152 w 292"/>
                <a:gd name="T67" fmla="*/ 1 h 458"/>
                <a:gd name="T68" fmla="*/ 173 w 292"/>
                <a:gd name="T69" fmla="*/ 2 h 458"/>
                <a:gd name="T70" fmla="*/ 218 w 292"/>
                <a:gd name="T71" fmla="*/ 8 h 458"/>
                <a:gd name="T72" fmla="*/ 240 w 292"/>
                <a:gd name="T73" fmla="*/ 9 h 458"/>
                <a:gd name="T74" fmla="*/ 242 w 292"/>
                <a:gd name="T75" fmla="*/ 13 h 458"/>
                <a:gd name="T76" fmla="*/ 241 w 292"/>
                <a:gd name="T77" fmla="*/ 18 h 458"/>
                <a:gd name="T78" fmla="*/ 255 w 292"/>
                <a:gd name="T79" fmla="*/ 47 h 458"/>
                <a:gd name="T80" fmla="*/ 267 w 292"/>
                <a:gd name="T81" fmla="*/ 57 h 458"/>
                <a:gd name="T82" fmla="*/ 279 w 292"/>
                <a:gd name="T83" fmla="*/ 61 h 458"/>
                <a:gd name="T84" fmla="*/ 287 w 292"/>
                <a:gd name="T85" fmla="*/ 69 h 458"/>
                <a:gd name="T86" fmla="*/ 291 w 292"/>
                <a:gd name="T87" fmla="*/ 80 h 458"/>
                <a:gd name="T88" fmla="*/ 290 w 292"/>
                <a:gd name="T89" fmla="*/ 103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2" h="458">
                  <a:moveTo>
                    <a:pt x="290" y="103"/>
                  </a:moveTo>
                  <a:cubicBezTo>
                    <a:pt x="285" y="134"/>
                    <a:pt x="277" y="164"/>
                    <a:pt x="265" y="193"/>
                  </a:cubicBezTo>
                  <a:cubicBezTo>
                    <a:pt x="260" y="207"/>
                    <a:pt x="255" y="220"/>
                    <a:pt x="251" y="234"/>
                  </a:cubicBezTo>
                  <a:cubicBezTo>
                    <a:pt x="248" y="246"/>
                    <a:pt x="249" y="260"/>
                    <a:pt x="246" y="272"/>
                  </a:cubicBezTo>
                  <a:cubicBezTo>
                    <a:pt x="242" y="287"/>
                    <a:pt x="239" y="303"/>
                    <a:pt x="236" y="319"/>
                  </a:cubicBezTo>
                  <a:cubicBezTo>
                    <a:pt x="231" y="342"/>
                    <a:pt x="229" y="367"/>
                    <a:pt x="230" y="391"/>
                  </a:cubicBezTo>
                  <a:cubicBezTo>
                    <a:pt x="230" y="395"/>
                    <a:pt x="231" y="399"/>
                    <a:pt x="232" y="402"/>
                  </a:cubicBezTo>
                  <a:cubicBezTo>
                    <a:pt x="234" y="405"/>
                    <a:pt x="236" y="407"/>
                    <a:pt x="237" y="410"/>
                  </a:cubicBezTo>
                  <a:cubicBezTo>
                    <a:pt x="239" y="416"/>
                    <a:pt x="238" y="421"/>
                    <a:pt x="236" y="426"/>
                  </a:cubicBezTo>
                  <a:cubicBezTo>
                    <a:pt x="234" y="431"/>
                    <a:pt x="231" y="435"/>
                    <a:pt x="228" y="439"/>
                  </a:cubicBezTo>
                  <a:cubicBezTo>
                    <a:pt x="190" y="450"/>
                    <a:pt x="150" y="446"/>
                    <a:pt x="112" y="449"/>
                  </a:cubicBezTo>
                  <a:cubicBezTo>
                    <a:pt x="76" y="451"/>
                    <a:pt x="40" y="458"/>
                    <a:pt x="4" y="452"/>
                  </a:cubicBezTo>
                  <a:cubicBezTo>
                    <a:pt x="0" y="436"/>
                    <a:pt x="7" y="419"/>
                    <a:pt x="13" y="404"/>
                  </a:cubicBezTo>
                  <a:cubicBezTo>
                    <a:pt x="29" y="358"/>
                    <a:pt x="48" y="311"/>
                    <a:pt x="45" y="264"/>
                  </a:cubicBezTo>
                  <a:cubicBezTo>
                    <a:pt x="44" y="258"/>
                    <a:pt x="44" y="253"/>
                    <a:pt x="43" y="247"/>
                  </a:cubicBezTo>
                  <a:cubicBezTo>
                    <a:pt x="37" y="214"/>
                    <a:pt x="43" y="179"/>
                    <a:pt x="53" y="146"/>
                  </a:cubicBezTo>
                  <a:cubicBezTo>
                    <a:pt x="60" y="126"/>
                    <a:pt x="59" y="104"/>
                    <a:pt x="58" y="83"/>
                  </a:cubicBezTo>
                  <a:cubicBezTo>
                    <a:pt x="57" y="76"/>
                    <a:pt x="57" y="69"/>
                    <a:pt x="58" y="62"/>
                  </a:cubicBezTo>
                  <a:cubicBezTo>
                    <a:pt x="58" y="55"/>
                    <a:pt x="61" y="49"/>
                    <a:pt x="65" y="43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8" y="42"/>
                    <a:pt x="69" y="42"/>
                  </a:cubicBezTo>
                  <a:cubicBezTo>
                    <a:pt x="69" y="43"/>
                    <a:pt x="70" y="43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3" y="43"/>
                    <a:pt x="74" y="44"/>
                    <a:pt x="76" y="45"/>
                  </a:cubicBezTo>
                  <a:cubicBezTo>
                    <a:pt x="79" y="45"/>
                    <a:pt x="82" y="46"/>
                    <a:pt x="85" y="46"/>
                  </a:cubicBezTo>
                  <a:cubicBezTo>
                    <a:pt x="88" y="46"/>
                    <a:pt x="92" y="46"/>
                    <a:pt x="95" y="47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101" y="48"/>
                    <a:pt x="106" y="48"/>
                    <a:pt x="111" y="46"/>
                  </a:cubicBezTo>
                  <a:cubicBezTo>
                    <a:pt x="115" y="45"/>
                    <a:pt x="118" y="44"/>
                    <a:pt x="121" y="42"/>
                  </a:cubicBezTo>
                  <a:cubicBezTo>
                    <a:pt x="123" y="41"/>
                    <a:pt x="126" y="40"/>
                    <a:pt x="128" y="40"/>
                  </a:cubicBezTo>
                  <a:cubicBezTo>
                    <a:pt x="132" y="37"/>
                    <a:pt x="131" y="27"/>
                    <a:pt x="132" y="23"/>
                  </a:cubicBezTo>
                  <a:cubicBezTo>
                    <a:pt x="132" y="19"/>
                    <a:pt x="133" y="15"/>
                    <a:pt x="135" y="11"/>
                  </a:cubicBezTo>
                  <a:cubicBezTo>
                    <a:pt x="139" y="5"/>
                    <a:pt x="145" y="1"/>
                    <a:pt x="152" y="1"/>
                  </a:cubicBezTo>
                  <a:cubicBezTo>
                    <a:pt x="159" y="0"/>
                    <a:pt x="166" y="1"/>
                    <a:pt x="173" y="2"/>
                  </a:cubicBezTo>
                  <a:cubicBezTo>
                    <a:pt x="188" y="5"/>
                    <a:pt x="203" y="4"/>
                    <a:pt x="218" y="8"/>
                  </a:cubicBezTo>
                  <a:cubicBezTo>
                    <a:pt x="225" y="9"/>
                    <a:pt x="233" y="12"/>
                    <a:pt x="240" y="9"/>
                  </a:cubicBezTo>
                  <a:cubicBezTo>
                    <a:pt x="241" y="9"/>
                    <a:pt x="242" y="11"/>
                    <a:pt x="242" y="13"/>
                  </a:cubicBezTo>
                  <a:cubicBezTo>
                    <a:pt x="242" y="14"/>
                    <a:pt x="241" y="16"/>
                    <a:pt x="241" y="18"/>
                  </a:cubicBezTo>
                  <a:cubicBezTo>
                    <a:pt x="238" y="29"/>
                    <a:pt x="247" y="39"/>
                    <a:pt x="255" y="47"/>
                  </a:cubicBezTo>
                  <a:cubicBezTo>
                    <a:pt x="258" y="51"/>
                    <a:pt x="262" y="54"/>
                    <a:pt x="267" y="57"/>
                  </a:cubicBezTo>
                  <a:cubicBezTo>
                    <a:pt x="271" y="59"/>
                    <a:pt x="275" y="59"/>
                    <a:pt x="279" y="61"/>
                  </a:cubicBezTo>
                  <a:cubicBezTo>
                    <a:pt x="282" y="63"/>
                    <a:pt x="285" y="66"/>
                    <a:pt x="287" y="69"/>
                  </a:cubicBezTo>
                  <a:cubicBezTo>
                    <a:pt x="289" y="72"/>
                    <a:pt x="291" y="76"/>
                    <a:pt x="291" y="80"/>
                  </a:cubicBezTo>
                  <a:cubicBezTo>
                    <a:pt x="292" y="88"/>
                    <a:pt x="292" y="96"/>
                    <a:pt x="290" y="103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íśḷîḋè">
              <a:extLst>
                <a:ext uri="{FF2B5EF4-FFF2-40B4-BE49-F238E27FC236}">
                  <a16:creationId xmlns:a16="http://schemas.microsoft.com/office/drawing/2014/main" id="{8C98091B-180E-4A5F-9E42-6023F6C6388D}"/>
                </a:ext>
              </a:extLst>
            </p:cNvPr>
            <p:cNvSpPr/>
            <p:nvPr/>
          </p:nvSpPr>
          <p:spPr bwMode="auto">
            <a:xfrm>
              <a:off x="7558088" y="3824288"/>
              <a:ext cx="265113" cy="96838"/>
            </a:xfrm>
            <a:custGeom>
              <a:avLst/>
              <a:gdLst>
                <a:gd name="T0" fmla="*/ 0 w 193"/>
                <a:gd name="T1" fmla="*/ 0 h 71"/>
                <a:gd name="T2" fmla="*/ 1 w 193"/>
                <a:gd name="T3" fmla="*/ 9 h 71"/>
                <a:gd name="T4" fmla="*/ 23 w 193"/>
                <a:gd name="T5" fmla="*/ 39 h 71"/>
                <a:gd name="T6" fmla="*/ 87 w 193"/>
                <a:gd name="T7" fmla="*/ 62 h 71"/>
                <a:gd name="T8" fmla="*/ 144 w 193"/>
                <a:gd name="T9" fmla="*/ 69 h 71"/>
                <a:gd name="T10" fmla="*/ 162 w 193"/>
                <a:gd name="T11" fmla="*/ 71 h 71"/>
                <a:gd name="T12" fmla="*/ 174 w 193"/>
                <a:gd name="T13" fmla="*/ 70 h 71"/>
                <a:gd name="T14" fmla="*/ 189 w 193"/>
                <a:gd name="T15" fmla="*/ 65 h 71"/>
                <a:gd name="T16" fmla="*/ 192 w 193"/>
                <a:gd name="T17" fmla="*/ 64 h 71"/>
                <a:gd name="T18" fmla="*/ 193 w 193"/>
                <a:gd name="T19" fmla="*/ 55 h 71"/>
                <a:gd name="T20" fmla="*/ 189 w 193"/>
                <a:gd name="T21" fmla="*/ 57 h 71"/>
                <a:gd name="T22" fmla="*/ 173 w 193"/>
                <a:gd name="T23" fmla="*/ 62 h 71"/>
                <a:gd name="T24" fmla="*/ 162 w 193"/>
                <a:gd name="T25" fmla="*/ 63 h 71"/>
                <a:gd name="T26" fmla="*/ 144 w 193"/>
                <a:gd name="T27" fmla="*/ 62 h 71"/>
                <a:gd name="T28" fmla="*/ 87 w 193"/>
                <a:gd name="T29" fmla="*/ 54 h 71"/>
                <a:gd name="T30" fmla="*/ 23 w 193"/>
                <a:gd name="T31" fmla="*/ 31 h 71"/>
                <a:gd name="T32" fmla="*/ 0 w 193"/>
                <a:gd name="T3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71">
                  <a:moveTo>
                    <a:pt x="0" y="0"/>
                  </a:moveTo>
                  <a:cubicBezTo>
                    <a:pt x="0" y="3"/>
                    <a:pt x="1" y="6"/>
                    <a:pt x="1" y="9"/>
                  </a:cubicBezTo>
                  <a:cubicBezTo>
                    <a:pt x="7" y="20"/>
                    <a:pt x="14" y="31"/>
                    <a:pt x="23" y="39"/>
                  </a:cubicBezTo>
                  <a:cubicBezTo>
                    <a:pt x="40" y="55"/>
                    <a:pt x="64" y="58"/>
                    <a:pt x="87" y="62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50" y="70"/>
                    <a:pt x="156" y="71"/>
                    <a:pt x="162" y="71"/>
                  </a:cubicBezTo>
                  <a:cubicBezTo>
                    <a:pt x="166" y="71"/>
                    <a:pt x="170" y="70"/>
                    <a:pt x="174" y="70"/>
                  </a:cubicBezTo>
                  <a:cubicBezTo>
                    <a:pt x="179" y="69"/>
                    <a:pt x="184" y="67"/>
                    <a:pt x="189" y="65"/>
                  </a:cubicBezTo>
                  <a:cubicBezTo>
                    <a:pt x="190" y="64"/>
                    <a:pt x="191" y="64"/>
                    <a:pt x="192" y="64"/>
                  </a:cubicBezTo>
                  <a:cubicBezTo>
                    <a:pt x="192" y="61"/>
                    <a:pt x="193" y="58"/>
                    <a:pt x="193" y="55"/>
                  </a:cubicBezTo>
                  <a:cubicBezTo>
                    <a:pt x="192" y="56"/>
                    <a:pt x="191" y="57"/>
                    <a:pt x="189" y="57"/>
                  </a:cubicBezTo>
                  <a:cubicBezTo>
                    <a:pt x="184" y="60"/>
                    <a:pt x="179" y="61"/>
                    <a:pt x="173" y="62"/>
                  </a:cubicBezTo>
                  <a:cubicBezTo>
                    <a:pt x="170" y="63"/>
                    <a:pt x="166" y="63"/>
                    <a:pt x="162" y="63"/>
                  </a:cubicBezTo>
                  <a:cubicBezTo>
                    <a:pt x="156" y="63"/>
                    <a:pt x="150" y="63"/>
                    <a:pt x="144" y="62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64" y="51"/>
                    <a:pt x="40" y="47"/>
                    <a:pt x="23" y="31"/>
                  </a:cubicBezTo>
                  <a:cubicBezTo>
                    <a:pt x="13" y="23"/>
                    <a:pt x="7" y="11"/>
                    <a:pt x="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íšḻíḑè">
              <a:extLst>
                <a:ext uri="{FF2B5EF4-FFF2-40B4-BE49-F238E27FC236}">
                  <a16:creationId xmlns:a16="http://schemas.microsoft.com/office/drawing/2014/main" id="{0C8CD624-ED70-4821-899B-BBAD82ED090C}"/>
                </a:ext>
              </a:extLst>
            </p:cNvPr>
            <p:cNvSpPr/>
            <p:nvPr/>
          </p:nvSpPr>
          <p:spPr bwMode="auto">
            <a:xfrm>
              <a:off x="7505700" y="3517900"/>
              <a:ext cx="490538" cy="393700"/>
            </a:xfrm>
            <a:custGeom>
              <a:avLst/>
              <a:gdLst>
                <a:gd name="T0" fmla="*/ 319 w 356"/>
                <a:gd name="T1" fmla="*/ 44 h 286"/>
                <a:gd name="T2" fmla="*/ 273 w 356"/>
                <a:gd name="T3" fmla="*/ 24 h 286"/>
                <a:gd name="T4" fmla="*/ 265 w 356"/>
                <a:gd name="T5" fmla="*/ 21 h 286"/>
                <a:gd name="T6" fmla="*/ 255 w 356"/>
                <a:gd name="T7" fmla="*/ 23 h 286"/>
                <a:gd name="T8" fmla="*/ 148 w 356"/>
                <a:gd name="T9" fmla="*/ 26 h 286"/>
                <a:gd name="T10" fmla="*/ 135 w 356"/>
                <a:gd name="T11" fmla="*/ 18 h 286"/>
                <a:gd name="T12" fmla="*/ 124 w 356"/>
                <a:gd name="T13" fmla="*/ 9 h 286"/>
                <a:gd name="T14" fmla="*/ 100 w 356"/>
                <a:gd name="T15" fmla="*/ 6 h 286"/>
                <a:gd name="T16" fmla="*/ 78 w 356"/>
                <a:gd name="T17" fmla="*/ 5 h 286"/>
                <a:gd name="T18" fmla="*/ 70 w 356"/>
                <a:gd name="T19" fmla="*/ 2 h 286"/>
                <a:gd name="T20" fmla="*/ 53 w 356"/>
                <a:gd name="T21" fmla="*/ 4 h 286"/>
                <a:gd name="T22" fmla="*/ 35 w 356"/>
                <a:gd name="T23" fmla="*/ 7 h 286"/>
                <a:gd name="T24" fmla="*/ 26 w 356"/>
                <a:gd name="T25" fmla="*/ 42 h 286"/>
                <a:gd name="T26" fmla="*/ 23 w 356"/>
                <a:gd name="T27" fmla="*/ 84 h 286"/>
                <a:gd name="T28" fmla="*/ 23 w 356"/>
                <a:gd name="T29" fmla="*/ 110 h 286"/>
                <a:gd name="T30" fmla="*/ 30 w 356"/>
                <a:gd name="T31" fmla="*/ 114 h 286"/>
                <a:gd name="T32" fmla="*/ 30 w 356"/>
                <a:gd name="T33" fmla="*/ 123 h 286"/>
                <a:gd name="T34" fmla="*/ 0 w 356"/>
                <a:gd name="T35" fmla="*/ 185 h 286"/>
                <a:gd name="T36" fmla="*/ 25 w 356"/>
                <a:gd name="T37" fmla="*/ 204 h 286"/>
                <a:gd name="T38" fmla="*/ 61 w 356"/>
                <a:gd name="T39" fmla="*/ 253 h 286"/>
                <a:gd name="T40" fmla="*/ 125 w 356"/>
                <a:gd name="T41" fmla="*/ 276 h 286"/>
                <a:gd name="T42" fmla="*/ 182 w 356"/>
                <a:gd name="T43" fmla="*/ 284 h 286"/>
                <a:gd name="T44" fmla="*/ 211 w 356"/>
                <a:gd name="T45" fmla="*/ 284 h 286"/>
                <a:gd name="T46" fmla="*/ 227 w 356"/>
                <a:gd name="T47" fmla="*/ 279 h 286"/>
                <a:gd name="T48" fmla="*/ 236 w 356"/>
                <a:gd name="T49" fmla="*/ 274 h 286"/>
                <a:gd name="T50" fmla="*/ 241 w 356"/>
                <a:gd name="T51" fmla="*/ 266 h 286"/>
                <a:gd name="T52" fmla="*/ 253 w 356"/>
                <a:gd name="T53" fmla="*/ 238 h 286"/>
                <a:gd name="T54" fmla="*/ 260 w 356"/>
                <a:gd name="T55" fmla="*/ 231 h 286"/>
                <a:gd name="T56" fmla="*/ 323 w 356"/>
                <a:gd name="T57" fmla="*/ 173 h 286"/>
                <a:gd name="T58" fmla="*/ 345 w 356"/>
                <a:gd name="T59" fmla="*/ 149 h 286"/>
                <a:gd name="T60" fmla="*/ 345 w 356"/>
                <a:gd name="T61" fmla="*/ 92 h 286"/>
                <a:gd name="T62" fmla="*/ 344 w 356"/>
                <a:gd name="T63" fmla="*/ 78 h 286"/>
                <a:gd name="T64" fmla="*/ 319 w 356"/>
                <a:gd name="T65" fmla="*/ 4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6" h="286">
                  <a:moveTo>
                    <a:pt x="319" y="44"/>
                  </a:moveTo>
                  <a:cubicBezTo>
                    <a:pt x="303" y="39"/>
                    <a:pt x="287" y="32"/>
                    <a:pt x="273" y="24"/>
                  </a:cubicBezTo>
                  <a:cubicBezTo>
                    <a:pt x="271" y="22"/>
                    <a:pt x="268" y="21"/>
                    <a:pt x="265" y="21"/>
                  </a:cubicBezTo>
                  <a:cubicBezTo>
                    <a:pt x="261" y="20"/>
                    <a:pt x="258" y="21"/>
                    <a:pt x="255" y="23"/>
                  </a:cubicBezTo>
                  <a:cubicBezTo>
                    <a:pt x="221" y="38"/>
                    <a:pt x="183" y="39"/>
                    <a:pt x="148" y="26"/>
                  </a:cubicBezTo>
                  <a:cubicBezTo>
                    <a:pt x="143" y="24"/>
                    <a:pt x="139" y="21"/>
                    <a:pt x="135" y="18"/>
                  </a:cubicBezTo>
                  <a:cubicBezTo>
                    <a:pt x="131" y="15"/>
                    <a:pt x="128" y="12"/>
                    <a:pt x="124" y="9"/>
                  </a:cubicBezTo>
                  <a:cubicBezTo>
                    <a:pt x="117" y="4"/>
                    <a:pt x="108" y="5"/>
                    <a:pt x="100" y="6"/>
                  </a:cubicBezTo>
                  <a:cubicBezTo>
                    <a:pt x="92" y="6"/>
                    <a:pt x="85" y="7"/>
                    <a:pt x="78" y="5"/>
                  </a:cubicBezTo>
                  <a:cubicBezTo>
                    <a:pt x="76" y="3"/>
                    <a:pt x="73" y="2"/>
                    <a:pt x="70" y="2"/>
                  </a:cubicBezTo>
                  <a:cubicBezTo>
                    <a:pt x="65" y="0"/>
                    <a:pt x="59" y="2"/>
                    <a:pt x="53" y="4"/>
                  </a:cubicBezTo>
                  <a:cubicBezTo>
                    <a:pt x="47" y="6"/>
                    <a:pt x="41" y="8"/>
                    <a:pt x="35" y="7"/>
                  </a:cubicBezTo>
                  <a:cubicBezTo>
                    <a:pt x="31" y="18"/>
                    <a:pt x="28" y="30"/>
                    <a:pt x="26" y="42"/>
                  </a:cubicBezTo>
                  <a:cubicBezTo>
                    <a:pt x="24" y="56"/>
                    <a:pt x="24" y="70"/>
                    <a:pt x="23" y="84"/>
                  </a:cubicBezTo>
                  <a:cubicBezTo>
                    <a:pt x="23" y="93"/>
                    <a:pt x="23" y="101"/>
                    <a:pt x="23" y="110"/>
                  </a:cubicBezTo>
                  <a:cubicBezTo>
                    <a:pt x="26" y="110"/>
                    <a:pt x="29" y="112"/>
                    <a:pt x="30" y="114"/>
                  </a:cubicBezTo>
                  <a:cubicBezTo>
                    <a:pt x="31" y="117"/>
                    <a:pt x="31" y="120"/>
                    <a:pt x="30" y="123"/>
                  </a:cubicBezTo>
                  <a:cubicBezTo>
                    <a:pt x="21" y="144"/>
                    <a:pt x="13" y="166"/>
                    <a:pt x="0" y="185"/>
                  </a:cubicBezTo>
                  <a:cubicBezTo>
                    <a:pt x="9" y="191"/>
                    <a:pt x="17" y="197"/>
                    <a:pt x="25" y="204"/>
                  </a:cubicBezTo>
                  <a:cubicBezTo>
                    <a:pt x="39" y="219"/>
                    <a:pt x="46" y="240"/>
                    <a:pt x="61" y="253"/>
                  </a:cubicBezTo>
                  <a:cubicBezTo>
                    <a:pt x="78" y="269"/>
                    <a:pt x="102" y="273"/>
                    <a:pt x="125" y="276"/>
                  </a:cubicBezTo>
                  <a:cubicBezTo>
                    <a:pt x="182" y="284"/>
                    <a:pt x="182" y="284"/>
                    <a:pt x="182" y="284"/>
                  </a:cubicBezTo>
                  <a:cubicBezTo>
                    <a:pt x="192" y="285"/>
                    <a:pt x="202" y="286"/>
                    <a:pt x="211" y="284"/>
                  </a:cubicBezTo>
                  <a:cubicBezTo>
                    <a:pt x="217" y="283"/>
                    <a:pt x="222" y="282"/>
                    <a:pt x="227" y="279"/>
                  </a:cubicBezTo>
                  <a:cubicBezTo>
                    <a:pt x="230" y="278"/>
                    <a:pt x="233" y="276"/>
                    <a:pt x="236" y="274"/>
                  </a:cubicBezTo>
                  <a:cubicBezTo>
                    <a:pt x="238" y="271"/>
                    <a:pt x="240" y="269"/>
                    <a:pt x="241" y="266"/>
                  </a:cubicBezTo>
                  <a:cubicBezTo>
                    <a:pt x="245" y="257"/>
                    <a:pt x="250" y="247"/>
                    <a:pt x="253" y="238"/>
                  </a:cubicBezTo>
                  <a:cubicBezTo>
                    <a:pt x="255" y="235"/>
                    <a:pt x="257" y="231"/>
                    <a:pt x="260" y="231"/>
                  </a:cubicBezTo>
                  <a:cubicBezTo>
                    <a:pt x="281" y="211"/>
                    <a:pt x="301" y="192"/>
                    <a:pt x="323" y="173"/>
                  </a:cubicBezTo>
                  <a:cubicBezTo>
                    <a:pt x="331" y="166"/>
                    <a:pt x="339" y="158"/>
                    <a:pt x="345" y="149"/>
                  </a:cubicBezTo>
                  <a:cubicBezTo>
                    <a:pt x="356" y="133"/>
                    <a:pt x="346" y="111"/>
                    <a:pt x="345" y="92"/>
                  </a:cubicBezTo>
                  <a:cubicBezTo>
                    <a:pt x="345" y="87"/>
                    <a:pt x="345" y="83"/>
                    <a:pt x="344" y="78"/>
                  </a:cubicBezTo>
                  <a:cubicBezTo>
                    <a:pt x="340" y="64"/>
                    <a:pt x="332" y="48"/>
                    <a:pt x="319" y="44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şlidè">
              <a:extLst>
                <a:ext uri="{FF2B5EF4-FFF2-40B4-BE49-F238E27FC236}">
                  <a16:creationId xmlns:a16="http://schemas.microsoft.com/office/drawing/2014/main" id="{E0D3D750-493C-49FB-95FE-9140CF46200B}"/>
                </a:ext>
              </a:extLst>
            </p:cNvPr>
            <p:cNvSpPr/>
            <p:nvPr/>
          </p:nvSpPr>
          <p:spPr bwMode="auto">
            <a:xfrm>
              <a:off x="7400925" y="3444875"/>
              <a:ext cx="79375" cy="66675"/>
            </a:xfrm>
            <a:custGeom>
              <a:avLst/>
              <a:gdLst>
                <a:gd name="T0" fmla="*/ 40 w 57"/>
                <a:gd name="T1" fmla="*/ 0 h 48"/>
                <a:gd name="T2" fmla="*/ 37 w 57"/>
                <a:gd name="T3" fmla="*/ 1 h 48"/>
                <a:gd name="T4" fmla="*/ 11 w 57"/>
                <a:gd name="T5" fmla="*/ 17 h 48"/>
                <a:gd name="T6" fmla="*/ 2 w 57"/>
                <a:gd name="T7" fmla="*/ 28 h 48"/>
                <a:gd name="T8" fmla="*/ 0 w 57"/>
                <a:gd name="T9" fmla="*/ 38 h 48"/>
                <a:gd name="T10" fmla="*/ 0 w 57"/>
                <a:gd name="T11" fmla="*/ 41 h 48"/>
                <a:gd name="T12" fmla="*/ 8 w 57"/>
                <a:gd name="T13" fmla="*/ 48 h 48"/>
                <a:gd name="T14" fmla="*/ 9 w 57"/>
                <a:gd name="T15" fmla="*/ 48 h 48"/>
                <a:gd name="T16" fmla="*/ 18 w 57"/>
                <a:gd name="T17" fmla="*/ 44 h 48"/>
                <a:gd name="T18" fmla="*/ 38 w 57"/>
                <a:gd name="T19" fmla="*/ 30 h 48"/>
                <a:gd name="T20" fmla="*/ 55 w 57"/>
                <a:gd name="T21" fmla="*/ 17 h 48"/>
                <a:gd name="T22" fmla="*/ 47 w 57"/>
                <a:gd name="T23" fmla="*/ 6 h 48"/>
                <a:gd name="T24" fmla="*/ 43 w 57"/>
                <a:gd name="T25" fmla="*/ 1 h 48"/>
                <a:gd name="T26" fmla="*/ 42 w 57"/>
                <a:gd name="T27" fmla="*/ 0 h 48"/>
                <a:gd name="T28" fmla="*/ 40 w 57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8">
                  <a:moveTo>
                    <a:pt x="40" y="0"/>
                  </a:moveTo>
                  <a:cubicBezTo>
                    <a:pt x="39" y="0"/>
                    <a:pt x="38" y="0"/>
                    <a:pt x="37" y="1"/>
                  </a:cubicBezTo>
                  <a:cubicBezTo>
                    <a:pt x="27" y="4"/>
                    <a:pt x="18" y="10"/>
                    <a:pt x="11" y="17"/>
                  </a:cubicBezTo>
                  <a:cubicBezTo>
                    <a:pt x="7" y="20"/>
                    <a:pt x="4" y="24"/>
                    <a:pt x="2" y="28"/>
                  </a:cubicBezTo>
                  <a:cubicBezTo>
                    <a:pt x="1" y="31"/>
                    <a:pt x="0" y="35"/>
                    <a:pt x="0" y="38"/>
                  </a:cubicBezTo>
                  <a:cubicBezTo>
                    <a:pt x="0" y="39"/>
                    <a:pt x="0" y="40"/>
                    <a:pt x="0" y="41"/>
                  </a:cubicBezTo>
                  <a:cubicBezTo>
                    <a:pt x="2" y="44"/>
                    <a:pt x="5" y="46"/>
                    <a:pt x="8" y="48"/>
                  </a:cubicBezTo>
                  <a:cubicBezTo>
                    <a:pt x="8" y="48"/>
                    <a:pt x="8" y="48"/>
                    <a:pt x="9" y="48"/>
                  </a:cubicBezTo>
                  <a:cubicBezTo>
                    <a:pt x="12" y="48"/>
                    <a:pt x="15" y="47"/>
                    <a:pt x="18" y="44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44" y="26"/>
                    <a:pt x="52" y="23"/>
                    <a:pt x="55" y="17"/>
                  </a:cubicBezTo>
                  <a:cubicBezTo>
                    <a:pt x="57" y="14"/>
                    <a:pt x="49" y="9"/>
                    <a:pt x="47" y="6"/>
                  </a:cubicBezTo>
                  <a:cubicBezTo>
                    <a:pt x="46" y="4"/>
                    <a:pt x="45" y="3"/>
                    <a:pt x="43" y="1"/>
                  </a:cubicBezTo>
                  <a:cubicBezTo>
                    <a:pt x="43" y="1"/>
                    <a:pt x="42" y="0"/>
                    <a:pt x="42" y="0"/>
                  </a:cubicBezTo>
                  <a:cubicBezTo>
                    <a:pt x="41" y="0"/>
                    <a:pt x="41" y="0"/>
                    <a:pt x="4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iś1îdè">
              <a:extLst>
                <a:ext uri="{FF2B5EF4-FFF2-40B4-BE49-F238E27FC236}">
                  <a16:creationId xmlns:a16="http://schemas.microsoft.com/office/drawing/2014/main" id="{862E19B9-0904-4F59-88F3-DE481F946FD7}"/>
                </a:ext>
              </a:extLst>
            </p:cNvPr>
            <p:cNvSpPr/>
            <p:nvPr/>
          </p:nvSpPr>
          <p:spPr bwMode="auto">
            <a:xfrm>
              <a:off x="7408863" y="3448050"/>
              <a:ext cx="152400" cy="206375"/>
            </a:xfrm>
            <a:custGeom>
              <a:avLst/>
              <a:gdLst>
                <a:gd name="T0" fmla="*/ 98 w 111"/>
                <a:gd name="T1" fmla="*/ 57 h 150"/>
                <a:gd name="T2" fmla="*/ 80 w 111"/>
                <a:gd name="T3" fmla="*/ 47 h 150"/>
                <a:gd name="T4" fmla="*/ 65 w 111"/>
                <a:gd name="T5" fmla="*/ 33 h 150"/>
                <a:gd name="T6" fmla="*/ 63 w 111"/>
                <a:gd name="T7" fmla="*/ 30 h 150"/>
                <a:gd name="T8" fmla="*/ 61 w 111"/>
                <a:gd name="T9" fmla="*/ 25 h 150"/>
                <a:gd name="T10" fmla="*/ 46 w 111"/>
                <a:gd name="T11" fmla="*/ 4 h 150"/>
                <a:gd name="T12" fmla="*/ 42 w 111"/>
                <a:gd name="T13" fmla="*/ 1 h 150"/>
                <a:gd name="T14" fmla="*/ 37 w 111"/>
                <a:gd name="T15" fmla="*/ 1 h 150"/>
                <a:gd name="T16" fmla="*/ 11 w 111"/>
                <a:gd name="T17" fmla="*/ 17 h 150"/>
                <a:gd name="T18" fmla="*/ 2 w 111"/>
                <a:gd name="T19" fmla="*/ 29 h 150"/>
                <a:gd name="T20" fmla="*/ 0 w 111"/>
                <a:gd name="T21" fmla="*/ 38 h 150"/>
                <a:gd name="T22" fmla="*/ 7 w 111"/>
                <a:gd name="T23" fmla="*/ 69 h 150"/>
                <a:gd name="T24" fmla="*/ 10 w 111"/>
                <a:gd name="T25" fmla="*/ 73 h 150"/>
                <a:gd name="T26" fmla="*/ 28 w 111"/>
                <a:gd name="T27" fmla="*/ 98 h 150"/>
                <a:gd name="T28" fmla="*/ 38 w 111"/>
                <a:gd name="T29" fmla="*/ 109 h 150"/>
                <a:gd name="T30" fmla="*/ 67 w 111"/>
                <a:gd name="T31" fmla="*/ 139 h 150"/>
                <a:gd name="T32" fmla="*/ 80 w 111"/>
                <a:gd name="T33" fmla="*/ 148 h 150"/>
                <a:gd name="T34" fmla="*/ 95 w 111"/>
                <a:gd name="T35" fmla="*/ 146 h 150"/>
                <a:gd name="T36" fmla="*/ 99 w 111"/>
                <a:gd name="T37" fmla="*/ 138 h 150"/>
                <a:gd name="T38" fmla="*/ 111 w 111"/>
                <a:gd name="T39" fmla="*/ 88 h 150"/>
                <a:gd name="T40" fmla="*/ 110 w 111"/>
                <a:gd name="T41" fmla="*/ 68 h 150"/>
                <a:gd name="T42" fmla="*/ 98 w 111"/>
                <a:gd name="T43" fmla="*/ 5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1" h="150">
                  <a:moveTo>
                    <a:pt x="98" y="57"/>
                  </a:moveTo>
                  <a:cubicBezTo>
                    <a:pt x="91" y="57"/>
                    <a:pt x="85" y="52"/>
                    <a:pt x="80" y="47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4" y="32"/>
                    <a:pt x="63" y="31"/>
                    <a:pt x="63" y="30"/>
                  </a:cubicBezTo>
                  <a:cubicBezTo>
                    <a:pt x="62" y="28"/>
                    <a:pt x="61" y="27"/>
                    <a:pt x="61" y="25"/>
                  </a:cubicBezTo>
                  <a:cubicBezTo>
                    <a:pt x="58" y="17"/>
                    <a:pt x="52" y="10"/>
                    <a:pt x="46" y="4"/>
                  </a:cubicBezTo>
                  <a:cubicBezTo>
                    <a:pt x="45" y="2"/>
                    <a:pt x="43" y="1"/>
                    <a:pt x="42" y="1"/>
                  </a:cubicBezTo>
                  <a:cubicBezTo>
                    <a:pt x="40" y="0"/>
                    <a:pt x="38" y="1"/>
                    <a:pt x="37" y="1"/>
                  </a:cubicBezTo>
                  <a:cubicBezTo>
                    <a:pt x="27" y="5"/>
                    <a:pt x="18" y="10"/>
                    <a:pt x="11" y="17"/>
                  </a:cubicBezTo>
                  <a:cubicBezTo>
                    <a:pt x="7" y="20"/>
                    <a:pt x="4" y="24"/>
                    <a:pt x="2" y="29"/>
                  </a:cubicBezTo>
                  <a:cubicBezTo>
                    <a:pt x="1" y="32"/>
                    <a:pt x="0" y="35"/>
                    <a:pt x="0" y="38"/>
                  </a:cubicBezTo>
                  <a:cubicBezTo>
                    <a:pt x="0" y="49"/>
                    <a:pt x="3" y="59"/>
                    <a:pt x="7" y="69"/>
                  </a:cubicBezTo>
                  <a:cubicBezTo>
                    <a:pt x="8" y="71"/>
                    <a:pt x="9" y="72"/>
                    <a:pt x="10" y="73"/>
                  </a:cubicBezTo>
                  <a:cubicBezTo>
                    <a:pt x="15" y="82"/>
                    <a:pt x="21" y="90"/>
                    <a:pt x="28" y="98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47" y="119"/>
                    <a:pt x="57" y="129"/>
                    <a:pt x="67" y="139"/>
                  </a:cubicBezTo>
                  <a:cubicBezTo>
                    <a:pt x="70" y="143"/>
                    <a:pt x="75" y="146"/>
                    <a:pt x="80" y="148"/>
                  </a:cubicBezTo>
                  <a:cubicBezTo>
                    <a:pt x="85" y="150"/>
                    <a:pt x="90" y="149"/>
                    <a:pt x="95" y="146"/>
                  </a:cubicBezTo>
                  <a:cubicBezTo>
                    <a:pt x="96" y="144"/>
                    <a:pt x="98" y="141"/>
                    <a:pt x="99" y="138"/>
                  </a:cubicBezTo>
                  <a:cubicBezTo>
                    <a:pt x="105" y="122"/>
                    <a:pt x="111" y="106"/>
                    <a:pt x="111" y="88"/>
                  </a:cubicBezTo>
                  <a:cubicBezTo>
                    <a:pt x="111" y="81"/>
                    <a:pt x="111" y="74"/>
                    <a:pt x="110" y="68"/>
                  </a:cubicBezTo>
                  <a:cubicBezTo>
                    <a:pt x="110" y="60"/>
                    <a:pt x="105" y="57"/>
                    <a:pt x="98" y="57"/>
                  </a:cubicBezTo>
                  <a:close/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i$ḻíḓè">
              <a:extLst>
                <a:ext uri="{FF2B5EF4-FFF2-40B4-BE49-F238E27FC236}">
                  <a16:creationId xmlns:a16="http://schemas.microsoft.com/office/drawing/2014/main" id="{D1909182-7725-416F-BC8E-4772C7635818}"/>
                </a:ext>
              </a:extLst>
            </p:cNvPr>
            <p:cNvSpPr/>
            <p:nvPr/>
          </p:nvSpPr>
          <p:spPr bwMode="auto">
            <a:xfrm>
              <a:off x="7212013" y="4040188"/>
              <a:ext cx="663575" cy="1247775"/>
            </a:xfrm>
            <a:custGeom>
              <a:avLst/>
              <a:gdLst>
                <a:gd name="T0" fmla="*/ 474 w 482"/>
                <a:gd name="T1" fmla="*/ 306 h 907"/>
                <a:gd name="T2" fmla="*/ 471 w 482"/>
                <a:gd name="T3" fmla="*/ 382 h 907"/>
                <a:gd name="T4" fmla="*/ 459 w 482"/>
                <a:gd name="T5" fmla="*/ 544 h 907"/>
                <a:gd name="T6" fmla="*/ 453 w 482"/>
                <a:gd name="T7" fmla="*/ 808 h 907"/>
                <a:gd name="T8" fmla="*/ 429 w 482"/>
                <a:gd name="T9" fmla="*/ 894 h 907"/>
                <a:gd name="T10" fmla="*/ 410 w 482"/>
                <a:gd name="T11" fmla="*/ 906 h 907"/>
                <a:gd name="T12" fmla="*/ 338 w 482"/>
                <a:gd name="T13" fmla="*/ 882 h 907"/>
                <a:gd name="T14" fmla="*/ 322 w 482"/>
                <a:gd name="T15" fmla="*/ 847 h 907"/>
                <a:gd name="T16" fmla="*/ 312 w 482"/>
                <a:gd name="T17" fmla="*/ 767 h 907"/>
                <a:gd name="T18" fmla="*/ 359 w 482"/>
                <a:gd name="T19" fmla="*/ 515 h 907"/>
                <a:gd name="T20" fmla="*/ 351 w 482"/>
                <a:gd name="T21" fmla="*/ 426 h 907"/>
                <a:gd name="T22" fmla="*/ 343 w 482"/>
                <a:gd name="T23" fmla="*/ 348 h 907"/>
                <a:gd name="T24" fmla="*/ 333 w 482"/>
                <a:gd name="T25" fmla="*/ 259 h 907"/>
                <a:gd name="T26" fmla="*/ 308 w 482"/>
                <a:gd name="T27" fmla="*/ 319 h 907"/>
                <a:gd name="T28" fmla="*/ 286 w 482"/>
                <a:gd name="T29" fmla="*/ 371 h 907"/>
                <a:gd name="T30" fmla="*/ 236 w 482"/>
                <a:gd name="T31" fmla="*/ 495 h 907"/>
                <a:gd name="T32" fmla="*/ 182 w 482"/>
                <a:gd name="T33" fmla="*/ 666 h 907"/>
                <a:gd name="T34" fmla="*/ 124 w 482"/>
                <a:gd name="T35" fmla="*/ 876 h 907"/>
                <a:gd name="T36" fmla="*/ 29 w 482"/>
                <a:gd name="T37" fmla="*/ 869 h 907"/>
                <a:gd name="T38" fmla="*/ 5 w 482"/>
                <a:gd name="T39" fmla="*/ 816 h 907"/>
                <a:gd name="T40" fmla="*/ 20 w 482"/>
                <a:gd name="T41" fmla="*/ 777 h 907"/>
                <a:gd name="T42" fmla="*/ 51 w 482"/>
                <a:gd name="T43" fmla="*/ 692 h 907"/>
                <a:gd name="T44" fmla="*/ 79 w 482"/>
                <a:gd name="T45" fmla="*/ 553 h 907"/>
                <a:gd name="T46" fmla="*/ 112 w 482"/>
                <a:gd name="T47" fmla="*/ 449 h 907"/>
                <a:gd name="T48" fmla="*/ 118 w 482"/>
                <a:gd name="T49" fmla="*/ 429 h 907"/>
                <a:gd name="T50" fmla="*/ 141 w 482"/>
                <a:gd name="T51" fmla="*/ 348 h 907"/>
                <a:gd name="T52" fmla="*/ 150 w 482"/>
                <a:gd name="T53" fmla="*/ 275 h 907"/>
                <a:gd name="T54" fmla="*/ 157 w 482"/>
                <a:gd name="T55" fmla="*/ 250 h 907"/>
                <a:gd name="T56" fmla="*/ 179 w 482"/>
                <a:gd name="T57" fmla="*/ 149 h 907"/>
                <a:gd name="T58" fmla="*/ 199 w 482"/>
                <a:gd name="T59" fmla="*/ 78 h 907"/>
                <a:gd name="T60" fmla="*/ 201 w 482"/>
                <a:gd name="T61" fmla="*/ 37 h 907"/>
                <a:gd name="T62" fmla="*/ 363 w 482"/>
                <a:gd name="T63" fmla="*/ 9 h 907"/>
                <a:gd name="T64" fmla="*/ 445 w 482"/>
                <a:gd name="T65" fmla="*/ 9 h 907"/>
                <a:gd name="T66" fmla="*/ 482 w 482"/>
                <a:gd name="T67" fmla="*/ 18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2" h="907">
                  <a:moveTo>
                    <a:pt x="482" y="186"/>
                  </a:moveTo>
                  <a:cubicBezTo>
                    <a:pt x="482" y="226"/>
                    <a:pt x="479" y="267"/>
                    <a:pt x="474" y="306"/>
                  </a:cubicBezTo>
                  <a:cubicBezTo>
                    <a:pt x="473" y="313"/>
                    <a:pt x="472" y="319"/>
                    <a:pt x="471" y="326"/>
                  </a:cubicBezTo>
                  <a:cubicBezTo>
                    <a:pt x="470" y="344"/>
                    <a:pt x="472" y="363"/>
                    <a:pt x="471" y="382"/>
                  </a:cubicBezTo>
                  <a:cubicBezTo>
                    <a:pt x="470" y="392"/>
                    <a:pt x="468" y="402"/>
                    <a:pt x="466" y="412"/>
                  </a:cubicBezTo>
                  <a:cubicBezTo>
                    <a:pt x="458" y="455"/>
                    <a:pt x="456" y="500"/>
                    <a:pt x="459" y="544"/>
                  </a:cubicBezTo>
                  <a:cubicBezTo>
                    <a:pt x="464" y="618"/>
                    <a:pt x="448" y="692"/>
                    <a:pt x="455" y="765"/>
                  </a:cubicBezTo>
                  <a:cubicBezTo>
                    <a:pt x="456" y="779"/>
                    <a:pt x="455" y="794"/>
                    <a:pt x="453" y="808"/>
                  </a:cubicBezTo>
                  <a:cubicBezTo>
                    <a:pt x="451" y="817"/>
                    <a:pt x="449" y="825"/>
                    <a:pt x="447" y="834"/>
                  </a:cubicBezTo>
                  <a:cubicBezTo>
                    <a:pt x="441" y="854"/>
                    <a:pt x="435" y="874"/>
                    <a:pt x="429" y="894"/>
                  </a:cubicBezTo>
                  <a:cubicBezTo>
                    <a:pt x="428" y="897"/>
                    <a:pt x="427" y="900"/>
                    <a:pt x="425" y="902"/>
                  </a:cubicBezTo>
                  <a:cubicBezTo>
                    <a:pt x="421" y="906"/>
                    <a:pt x="415" y="907"/>
                    <a:pt x="410" y="906"/>
                  </a:cubicBezTo>
                  <a:cubicBezTo>
                    <a:pt x="387" y="906"/>
                    <a:pt x="365" y="896"/>
                    <a:pt x="344" y="886"/>
                  </a:cubicBezTo>
                  <a:cubicBezTo>
                    <a:pt x="342" y="885"/>
                    <a:pt x="340" y="884"/>
                    <a:pt x="338" y="882"/>
                  </a:cubicBezTo>
                  <a:cubicBezTo>
                    <a:pt x="333" y="878"/>
                    <a:pt x="334" y="870"/>
                    <a:pt x="332" y="864"/>
                  </a:cubicBezTo>
                  <a:cubicBezTo>
                    <a:pt x="330" y="859"/>
                    <a:pt x="325" y="853"/>
                    <a:pt x="322" y="847"/>
                  </a:cubicBezTo>
                  <a:cubicBezTo>
                    <a:pt x="319" y="841"/>
                    <a:pt x="318" y="835"/>
                    <a:pt x="317" y="829"/>
                  </a:cubicBezTo>
                  <a:cubicBezTo>
                    <a:pt x="315" y="808"/>
                    <a:pt x="313" y="787"/>
                    <a:pt x="312" y="767"/>
                  </a:cubicBezTo>
                  <a:cubicBezTo>
                    <a:pt x="310" y="738"/>
                    <a:pt x="330" y="711"/>
                    <a:pt x="336" y="683"/>
                  </a:cubicBezTo>
                  <a:cubicBezTo>
                    <a:pt x="348" y="627"/>
                    <a:pt x="338" y="568"/>
                    <a:pt x="359" y="515"/>
                  </a:cubicBezTo>
                  <a:cubicBezTo>
                    <a:pt x="366" y="499"/>
                    <a:pt x="356" y="478"/>
                    <a:pt x="355" y="460"/>
                  </a:cubicBezTo>
                  <a:cubicBezTo>
                    <a:pt x="355" y="449"/>
                    <a:pt x="353" y="437"/>
                    <a:pt x="351" y="426"/>
                  </a:cubicBezTo>
                  <a:cubicBezTo>
                    <a:pt x="347" y="411"/>
                    <a:pt x="338" y="397"/>
                    <a:pt x="338" y="381"/>
                  </a:cubicBezTo>
                  <a:cubicBezTo>
                    <a:pt x="337" y="370"/>
                    <a:pt x="341" y="359"/>
                    <a:pt x="343" y="348"/>
                  </a:cubicBezTo>
                  <a:cubicBezTo>
                    <a:pt x="345" y="332"/>
                    <a:pt x="345" y="315"/>
                    <a:pt x="342" y="299"/>
                  </a:cubicBezTo>
                  <a:cubicBezTo>
                    <a:pt x="340" y="285"/>
                    <a:pt x="337" y="272"/>
                    <a:pt x="333" y="259"/>
                  </a:cubicBezTo>
                  <a:cubicBezTo>
                    <a:pt x="333" y="260"/>
                    <a:pt x="333" y="260"/>
                    <a:pt x="333" y="260"/>
                  </a:cubicBezTo>
                  <a:cubicBezTo>
                    <a:pt x="323" y="279"/>
                    <a:pt x="315" y="299"/>
                    <a:pt x="308" y="319"/>
                  </a:cubicBezTo>
                  <a:cubicBezTo>
                    <a:pt x="304" y="329"/>
                    <a:pt x="302" y="339"/>
                    <a:pt x="298" y="348"/>
                  </a:cubicBezTo>
                  <a:cubicBezTo>
                    <a:pt x="294" y="356"/>
                    <a:pt x="290" y="364"/>
                    <a:pt x="286" y="371"/>
                  </a:cubicBezTo>
                  <a:cubicBezTo>
                    <a:pt x="272" y="398"/>
                    <a:pt x="260" y="425"/>
                    <a:pt x="249" y="454"/>
                  </a:cubicBezTo>
                  <a:cubicBezTo>
                    <a:pt x="244" y="467"/>
                    <a:pt x="240" y="482"/>
                    <a:pt x="236" y="495"/>
                  </a:cubicBezTo>
                  <a:cubicBezTo>
                    <a:pt x="226" y="527"/>
                    <a:pt x="216" y="559"/>
                    <a:pt x="206" y="591"/>
                  </a:cubicBezTo>
                  <a:cubicBezTo>
                    <a:pt x="198" y="617"/>
                    <a:pt x="189" y="641"/>
                    <a:pt x="182" y="666"/>
                  </a:cubicBezTo>
                  <a:cubicBezTo>
                    <a:pt x="170" y="702"/>
                    <a:pt x="159" y="738"/>
                    <a:pt x="147" y="773"/>
                  </a:cubicBezTo>
                  <a:cubicBezTo>
                    <a:pt x="134" y="807"/>
                    <a:pt x="120" y="841"/>
                    <a:pt x="124" y="876"/>
                  </a:cubicBezTo>
                  <a:cubicBezTo>
                    <a:pt x="113" y="882"/>
                    <a:pt x="101" y="884"/>
                    <a:pt x="89" y="884"/>
                  </a:cubicBezTo>
                  <a:cubicBezTo>
                    <a:pt x="69" y="882"/>
                    <a:pt x="48" y="877"/>
                    <a:pt x="29" y="869"/>
                  </a:cubicBezTo>
                  <a:cubicBezTo>
                    <a:pt x="21" y="867"/>
                    <a:pt x="14" y="863"/>
                    <a:pt x="9" y="857"/>
                  </a:cubicBezTo>
                  <a:cubicBezTo>
                    <a:pt x="0" y="846"/>
                    <a:pt x="2" y="830"/>
                    <a:pt x="5" y="816"/>
                  </a:cubicBezTo>
                  <a:cubicBezTo>
                    <a:pt x="6" y="810"/>
                    <a:pt x="7" y="804"/>
                    <a:pt x="9" y="798"/>
                  </a:cubicBezTo>
                  <a:cubicBezTo>
                    <a:pt x="12" y="791"/>
                    <a:pt x="17" y="784"/>
                    <a:pt x="20" y="777"/>
                  </a:cubicBezTo>
                  <a:cubicBezTo>
                    <a:pt x="27" y="763"/>
                    <a:pt x="27" y="747"/>
                    <a:pt x="30" y="732"/>
                  </a:cubicBezTo>
                  <a:cubicBezTo>
                    <a:pt x="32" y="717"/>
                    <a:pt x="38" y="701"/>
                    <a:pt x="51" y="692"/>
                  </a:cubicBezTo>
                  <a:cubicBezTo>
                    <a:pt x="53" y="666"/>
                    <a:pt x="64" y="639"/>
                    <a:pt x="70" y="613"/>
                  </a:cubicBezTo>
                  <a:cubicBezTo>
                    <a:pt x="74" y="594"/>
                    <a:pt x="76" y="573"/>
                    <a:pt x="79" y="553"/>
                  </a:cubicBezTo>
                  <a:cubicBezTo>
                    <a:pt x="83" y="533"/>
                    <a:pt x="89" y="513"/>
                    <a:pt x="101" y="497"/>
                  </a:cubicBezTo>
                  <a:cubicBezTo>
                    <a:pt x="100" y="481"/>
                    <a:pt x="104" y="464"/>
                    <a:pt x="112" y="449"/>
                  </a:cubicBezTo>
                  <a:cubicBezTo>
                    <a:pt x="114" y="446"/>
                    <a:pt x="115" y="443"/>
                    <a:pt x="117" y="439"/>
                  </a:cubicBezTo>
                  <a:cubicBezTo>
                    <a:pt x="117" y="436"/>
                    <a:pt x="118" y="432"/>
                    <a:pt x="118" y="429"/>
                  </a:cubicBezTo>
                  <a:cubicBezTo>
                    <a:pt x="119" y="415"/>
                    <a:pt x="125" y="402"/>
                    <a:pt x="135" y="392"/>
                  </a:cubicBezTo>
                  <a:cubicBezTo>
                    <a:pt x="131" y="377"/>
                    <a:pt x="136" y="362"/>
                    <a:pt x="141" y="348"/>
                  </a:cubicBezTo>
                  <a:cubicBezTo>
                    <a:pt x="148" y="330"/>
                    <a:pt x="150" y="311"/>
                    <a:pt x="150" y="291"/>
                  </a:cubicBezTo>
                  <a:cubicBezTo>
                    <a:pt x="149" y="286"/>
                    <a:pt x="149" y="281"/>
                    <a:pt x="150" y="275"/>
                  </a:cubicBezTo>
                  <a:cubicBezTo>
                    <a:pt x="152" y="271"/>
                    <a:pt x="154" y="268"/>
                    <a:pt x="155" y="264"/>
                  </a:cubicBezTo>
                  <a:cubicBezTo>
                    <a:pt x="156" y="259"/>
                    <a:pt x="157" y="255"/>
                    <a:pt x="157" y="250"/>
                  </a:cubicBezTo>
                  <a:cubicBezTo>
                    <a:pt x="158" y="228"/>
                    <a:pt x="167" y="208"/>
                    <a:pt x="177" y="188"/>
                  </a:cubicBezTo>
                  <a:cubicBezTo>
                    <a:pt x="183" y="177"/>
                    <a:pt x="178" y="162"/>
                    <a:pt x="179" y="149"/>
                  </a:cubicBezTo>
                  <a:cubicBezTo>
                    <a:pt x="181" y="128"/>
                    <a:pt x="183" y="107"/>
                    <a:pt x="194" y="89"/>
                  </a:cubicBezTo>
                  <a:cubicBezTo>
                    <a:pt x="196" y="85"/>
                    <a:pt x="198" y="82"/>
                    <a:pt x="199" y="78"/>
                  </a:cubicBezTo>
                  <a:cubicBezTo>
                    <a:pt x="201" y="73"/>
                    <a:pt x="203" y="68"/>
                    <a:pt x="203" y="62"/>
                  </a:cubicBezTo>
                  <a:cubicBezTo>
                    <a:pt x="203" y="53"/>
                    <a:pt x="204" y="46"/>
                    <a:pt x="201" y="37"/>
                  </a:cubicBezTo>
                  <a:cubicBezTo>
                    <a:pt x="222" y="19"/>
                    <a:pt x="252" y="14"/>
                    <a:pt x="279" y="13"/>
                  </a:cubicBezTo>
                  <a:cubicBezTo>
                    <a:pt x="307" y="12"/>
                    <a:pt x="335" y="15"/>
                    <a:pt x="363" y="9"/>
                  </a:cubicBezTo>
                  <a:cubicBezTo>
                    <a:pt x="371" y="7"/>
                    <a:pt x="379" y="4"/>
                    <a:pt x="387" y="3"/>
                  </a:cubicBezTo>
                  <a:cubicBezTo>
                    <a:pt x="406" y="0"/>
                    <a:pt x="426" y="5"/>
                    <a:pt x="445" y="9"/>
                  </a:cubicBezTo>
                  <a:cubicBezTo>
                    <a:pt x="443" y="21"/>
                    <a:pt x="448" y="33"/>
                    <a:pt x="452" y="44"/>
                  </a:cubicBezTo>
                  <a:cubicBezTo>
                    <a:pt x="472" y="89"/>
                    <a:pt x="482" y="137"/>
                    <a:pt x="482" y="186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íšḻide">
              <a:extLst>
                <a:ext uri="{FF2B5EF4-FFF2-40B4-BE49-F238E27FC236}">
                  <a16:creationId xmlns:a16="http://schemas.microsoft.com/office/drawing/2014/main" id="{40E0F273-36CE-4274-ADBE-A789C7C3D01B}"/>
                </a:ext>
              </a:extLst>
            </p:cNvPr>
            <p:cNvSpPr/>
            <p:nvPr/>
          </p:nvSpPr>
          <p:spPr bwMode="auto">
            <a:xfrm>
              <a:off x="7670800" y="4397375"/>
              <a:ext cx="12700" cy="53975"/>
            </a:xfrm>
            <a:custGeom>
              <a:avLst/>
              <a:gdLst>
                <a:gd name="T0" fmla="*/ 0 w 9"/>
                <a:gd name="T1" fmla="*/ 0 h 40"/>
                <a:gd name="T2" fmla="*/ 0 w 9"/>
                <a:gd name="T3" fmla="*/ 0 h 40"/>
                <a:gd name="T4" fmla="*/ 9 w 9"/>
                <a:gd name="T5" fmla="*/ 40 h 40"/>
                <a:gd name="T6" fmla="*/ 9 w 9"/>
                <a:gd name="T7" fmla="*/ 39 h 40"/>
                <a:gd name="T8" fmla="*/ 0 w 9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3"/>
                    <a:pt x="7" y="26"/>
                    <a:pt x="9" y="40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7" y="26"/>
                    <a:pt x="4" y="13"/>
                    <a:pt x="0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îS1ïḋê">
              <a:extLst>
                <a:ext uri="{FF2B5EF4-FFF2-40B4-BE49-F238E27FC236}">
                  <a16:creationId xmlns:a16="http://schemas.microsoft.com/office/drawing/2014/main" id="{D674E2FC-779A-4E83-8ED1-DE7FCE8ABCF3}"/>
                </a:ext>
              </a:extLst>
            </p:cNvPr>
            <p:cNvSpPr/>
            <p:nvPr/>
          </p:nvSpPr>
          <p:spPr bwMode="auto">
            <a:xfrm>
              <a:off x="7670800" y="4308475"/>
              <a:ext cx="76200" cy="141288"/>
            </a:xfrm>
            <a:custGeom>
              <a:avLst/>
              <a:gdLst>
                <a:gd name="T0" fmla="*/ 55 w 55"/>
                <a:gd name="T1" fmla="*/ 0 h 103"/>
                <a:gd name="T2" fmla="*/ 25 w 55"/>
                <a:gd name="T3" fmla="*/ 8 h 103"/>
                <a:gd name="T4" fmla="*/ 0 w 55"/>
                <a:gd name="T5" fmla="*/ 63 h 103"/>
                <a:gd name="T6" fmla="*/ 0 w 55"/>
                <a:gd name="T7" fmla="*/ 65 h 103"/>
                <a:gd name="T8" fmla="*/ 0 w 55"/>
                <a:gd name="T9" fmla="*/ 64 h 103"/>
                <a:gd name="T10" fmla="*/ 0 w 55"/>
                <a:gd name="T11" fmla="*/ 64 h 103"/>
                <a:gd name="T12" fmla="*/ 0 w 55"/>
                <a:gd name="T13" fmla="*/ 64 h 103"/>
                <a:gd name="T14" fmla="*/ 9 w 55"/>
                <a:gd name="T15" fmla="*/ 103 h 103"/>
                <a:gd name="T16" fmla="*/ 55 w 55"/>
                <a:gd name="T1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03">
                  <a:moveTo>
                    <a:pt x="55" y="0"/>
                  </a:moveTo>
                  <a:cubicBezTo>
                    <a:pt x="25" y="8"/>
                    <a:pt x="25" y="8"/>
                    <a:pt x="25" y="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4" y="77"/>
                    <a:pt x="7" y="90"/>
                    <a:pt x="9" y="103"/>
                  </a:cubicBezTo>
                  <a:cubicBezTo>
                    <a:pt x="55" y="0"/>
                    <a:pt x="55" y="0"/>
                    <a:pt x="55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íŝļiďê">
              <a:extLst>
                <a:ext uri="{FF2B5EF4-FFF2-40B4-BE49-F238E27FC236}">
                  <a16:creationId xmlns:a16="http://schemas.microsoft.com/office/drawing/2014/main" id="{8C23A927-518E-4426-88A7-BB1140E1E847}"/>
                </a:ext>
              </a:extLst>
            </p:cNvPr>
            <p:cNvSpPr/>
            <p:nvPr/>
          </p:nvSpPr>
          <p:spPr bwMode="auto">
            <a:xfrm>
              <a:off x="7848600" y="3994150"/>
              <a:ext cx="1588" cy="4763"/>
            </a:xfrm>
            <a:custGeom>
              <a:avLst/>
              <a:gdLst>
                <a:gd name="T0" fmla="*/ 1 w 1"/>
                <a:gd name="T1" fmla="*/ 0 h 4"/>
                <a:gd name="T2" fmla="*/ 0 w 1"/>
                <a:gd name="T3" fmla="*/ 4 h 4"/>
                <a:gd name="T4" fmla="*/ 0 w 1"/>
                <a:gd name="T5" fmla="*/ 4 h 4"/>
                <a:gd name="T6" fmla="*/ 1 w 1"/>
                <a:gd name="T7" fmla="*/ 0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íśḻïḑê">
              <a:extLst>
                <a:ext uri="{FF2B5EF4-FFF2-40B4-BE49-F238E27FC236}">
                  <a16:creationId xmlns:a16="http://schemas.microsoft.com/office/drawing/2014/main" id="{D049144E-0908-4F2C-B02C-39B82AEE4A0C}"/>
                </a:ext>
              </a:extLst>
            </p:cNvPr>
            <p:cNvSpPr/>
            <p:nvPr/>
          </p:nvSpPr>
          <p:spPr bwMode="auto">
            <a:xfrm>
              <a:off x="7848600" y="3994150"/>
              <a:ext cx="88900" cy="23813"/>
            </a:xfrm>
            <a:custGeom>
              <a:avLst/>
              <a:gdLst>
                <a:gd name="T0" fmla="*/ 1 w 64"/>
                <a:gd name="T1" fmla="*/ 0 h 17"/>
                <a:gd name="T2" fmla="*/ 0 w 64"/>
                <a:gd name="T3" fmla="*/ 4 h 17"/>
                <a:gd name="T4" fmla="*/ 4 w 64"/>
                <a:gd name="T5" fmla="*/ 6 h 17"/>
                <a:gd name="T6" fmla="*/ 40 w 64"/>
                <a:gd name="T7" fmla="*/ 15 h 17"/>
                <a:gd name="T8" fmla="*/ 53 w 64"/>
                <a:gd name="T9" fmla="*/ 17 h 17"/>
                <a:gd name="T10" fmla="*/ 55 w 64"/>
                <a:gd name="T11" fmla="*/ 17 h 17"/>
                <a:gd name="T12" fmla="*/ 64 w 64"/>
                <a:gd name="T13" fmla="*/ 13 h 17"/>
                <a:gd name="T14" fmla="*/ 64 w 64"/>
                <a:gd name="T15" fmla="*/ 13 h 17"/>
                <a:gd name="T16" fmla="*/ 63 w 64"/>
                <a:gd name="T17" fmla="*/ 8 h 17"/>
                <a:gd name="T18" fmla="*/ 54 w 64"/>
                <a:gd name="T19" fmla="*/ 12 h 17"/>
                <a:gd name="T20" fmla="*/ 53 w 64"/>
                <a:gd name="T21" fmla="*/ 12 h 17"/>
                <a:gd name="T22" fmla="*/ 40 w 64"/>
                <a:gd name="T23" fmla="*/ 10 h 17"/>
                <a:gd name="T24" fmla="*/ 4 w 64"/>
                <a:gd name="T25" fmla="*/ 1 h 17"/>
                <a:gd name="T26" fmla="*/ 1 w 64"/>
                <a:gd name="T2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7">
                  <a:moveTo>
                    <a:pt x="1" y="0"/>
                  </a:moveTo>
                  <a:cubicBezTo>
                    <a:pt x="1" y="1"/>
                    <a:pt x="1" y="3"/>
                    <a:pt x="0" y="4"/>
                  </a:cubicBezTo>
                  <a:cubicBezTo>
                    <a:pt x="2" y="5"/>
                    <a:pt x="3" y="5"/>
                    <a:pt x="4" y="6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4" y="16"/>
                    <a:pt x="48" y="17"/>
                    <a:pt x="53" y="17"/>
                  </a:cubicBezTo>
                  <a:cubicBezTo>
                    <a:pt x="54" y="17"/>
                    <a:pt x="54" y="17"/>
                    <a:pt x="55" y="17"/>
                  </a:cubicBezTo>
                  <a:cubicBezTo>
                    <a:pt x="58" y="16"/>
                    <a:pt x="61" y="15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2"/>
                    <a:pt x="64" y="10"/>
                    <a:pt x="63" y="8"/>
                  </a:cubicBezTo>
                  <a:cubicBezTo>
                    <a:pt x="61" y="10"/>
                    <a:pt x="58" y="12"/>
                    <a:pt x="54" y="12"/>
                  </a:cubicBezTo>
                  <a:cubicBezTo>
                    <a:pt x="54" y="12"/>
                    <a:pt x="54" y="12"/>
                    <a:pt x="53" y="12"/>
                  </a:cubicBezTo>
                  <a:cubicBezTo>
                    <a:pt x="48" y="12"/>
                    <a:pt x="44" y="11"/>
                    <a:pt x="40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iṣlíḍe">
              <a:extLst>
                <a:ext uri="{FF2B5EF4-FFF2-40B4-BE49-F238E27FC236}">
                  <a16:creationId xmlns:a16="http://schemas.microsoft.com/office/drawing/2014/main" id="{503E54DF-418E-4E41-AE74-A487278D7467}"/>
                </a:ext>
              </a:extLst>
            </p:cNvPr>
            <p:cNvSpPr/>
            <p:nvPr/>
          </p:nvSpPr>
          <p:spPr bwMode="auto">
            <a:xfrm>
              <a:off x="7843838" y="3665538"/>
              <a:ext cx="139700" cy="344488"/>
            </a:xfrm>
            <a:custGeom>
              <a:avLst/>
              <a:gdLst>
                <a:gd name="T0" fmla="*/ 98 w 102"/>
                <a:gd name="T1" fmla="*/ 14 h 251"/>
                <a:gd name="T2" fmla="*/ 101 w 102"/>
                <a:gd name="T3" fmla="*/ 24 h 251"/>
                <a:gd name="T4" fmla="*/ 100 w 102"/>
                <a:gd name="T5" fmla="*/ 49 h 251"/>
                <a:gd name="T6" fmla="*/ 96 w 102"/>
                <a:gd name="T7" fmla="*/ 72 h 251"/>
                <a:gd name="T8" fmla="*/ 93 w 102"/>
                <a:gd name="T9" fmla="*/ 95 h 251"/>
                <a:gd name="T10" fmla="*/ 80 w 102"/>
                <a:gd name="T11" fmla="*/ 183 h 251"/>
                <a:gd name="T12" fmla="*/ 77 w 102"/>
                <a:gd name="T13" fmla="*/ 205 h 251"/>
                <a:gd name="T14" fmla="*/ 73 w 102"/>
                <a:gd name="T15" fmla="*/ 236 h 251"/>
                <a:gd name="T16" fmla="*/ 71 w 102"/>
                <a:gd name="T17" fmla="*/ 243 h 251"/>
                <a:gd name="T18" fmla="*/ 58 w 102"/>
                <a:gd name="T19" fmla="*/ 251 h 251"/>
                <a:gd name="T20" fmla="*/ 44 w 102"/>
                <a:gd name="T21" fmla="*/ 249 h 251"/>
                <a:gd name="T22" fmla="*/ 8 w 102"/>
                <a:gd name="T23" fmla="*/ 240 h 251"/>
                <a:gd name="T24" fmla="*/ 3 w 102"/>
                <a:gd name="T25" fmla="*/ 238 h 251"/>
                <a:gd name="T26" fmla="*/ 1 w 102"/>
                <a:gd name="T27" fmla="*/ 229 h 251"/>
                <a:gd name="T28" fmla="*/ 3 w 102"/>
                <a:gd name="T29" fmla="*/ 220 h 251"/>
                <a:gd name="T30" fmla="*/ 3 w 102"/>
                <a:gd name="T31" fmla="*/ 203 h 251"/>
                <a:gd name="T32" fmla="*/ 7 w 102"/>
                <a:gd name="T33" fmla="*/ 192 h 251"/>
                <a:gd name="T34" fmla="*/ 16 w 102"/>
                <a:gd name="T35" fmla="*/ 105 h 251"/>
                <a:gd name="T36" fmla="*/ 43 w 102"/>
                <a:gd name="T37" fmla="*/ 44 h 251"/>
                <a:gd name="T38" fmla="*/ 74 w 102"/>
                <a:gd name="T39" fmla="*/ 14 h 251"/>
                <a:gd name="T40" fmla="*/ 91 w 102"/>
                <a:gd name="T41" fmla="*/ 2 h 251"/>
                <a:gd name="T42" fmla="*/ 98 w 102"/>
                <a:gd name="T43" fmla="*/ 1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2" h="251">
                  <a:moveTo>
                    <a:pt x="98" y="14"/>
                  </a:moveTo>
                  <a:cubicBezTo>
                    <a:pt x="99" y="18"/>
                    <a:pt x="100" y="21"/>
                    <a:pt x="101" y="24"/>
                  </a:cubicBezTo>
                  <a:cubicBezTo>
                    <a:pt x="102" y="32"/>
                    <a:pt x="101" y="41"/>
                    <a:pt x="100" y="49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0" y="183"/>
                    <a:pt x="80" y="183"/>
                    <a:pt x="80" y="183"/>
                  </a:cubicBezTo>
                  <a:cubicBezTo>
                    <a:pt x="77" y="205"/>
                    <a:pt x="77" y="205"/>
                    <a:pt x="77" y="205"/>
                  </a:cubicBezTo>
                  <a:cubicBezTo>
                    <a:pt x="73" y="236"/>
                    <a:pt x="73" y="236"/>
                    <a:pt x="73" y="236"/>
                  </a:cubicBezTo>
                  <a:cubicBezTo>
                    <a:pt x="73" y="238"/>
                    <a:pt x="72" y="241"/>
                    <a:pt x="71" y="243"/>
                  </a:cubicBezTo>
                  <a:cubicBezTo>
                    <a:pt x="68" y="248"/>
                    <a:pt x="64" y="250"/>
                    <a:pt x="58" y="251"/>
                  </a:cubicBezTo>
                  <a:cubicBezTo>
                    <a:pt x="53" y="251"/>
                    <a:pt x="48" y="250"/>
                    <a:pt x="44" y="249"/>
                  </a:cubicBezTo>
                  <a:cubicBezTo>
                    <a:pt x="8" y="240"/>
                    <a:pt x="8" y="240"/>
                    <a:pt x="8" y="240"/>
                  </a:cubicBezTo>
                  <a:cubicBezTo>
                    <a:pt x="6" y="239"/>
                    <a:pt x="5" y="239"/>
                    <a:pt x="3" y="238"/>
                  </a:cubicBezTo>
                  <a:cubicBezTo>
                    <a:pt x="1" y="236"/>
                    <a:pt x="0" y="232"/>
                    <a:pt x="1" y="229"/>
                  </a:cubicBezTo>
                  <a:cubicBezTo>
                    <a:pt x="2" y="226"/>
                    <a:pt x="3" y="223"/>
                    <a:pt x="3" y="220"/>
                  </a:cubicBezTo>
                  <a:cubicBezTo>
                    <a:pt x="4" y="214"/>
                    <a:pt x="2" y="208"/>
                    <a:pt x="3" y="203"/>
                  </a:cubicBezTo>
                  <a:cubicBezTo>
                    <a:pt x="3" y="199"/>
                    <a:pt x="5" y="195"/>
                    <a:pt x="7" y="192"/>
                  </a:cubicBezTo>
                  <a:cubicBezTo>
                    <a:pt x="19" y="165"/>
                    <a:pt x="12" y="134"/>
                    <a:pt x="16" y="105"/>
                  </a:cubicBezTo>
                  <a:cubicBezTo>
                    <a:pt x="19" y="83"/>
                    <a:pt x="29" y="62"/>
                    <a:pt x="43" y="44"/>
                  </a:cubicBezTo>
                  <a:cubicBezTo>
                    <a:pt x="52" y="32"/>
                    <a:pt x="62" y="22"/>
                    <a:pt x="74" y="14"/>
                  </a:cubicBezTo>
                  <a:cubicBezTo>
                    <a:pt x="78" y="10"/>
                    <a:pt x="85" y="3"/>
                    <a:pt x="91" y="2"/>
                  </a:cubicBezTo>
                  <a:cubicBezTo>
                    <a:pt x="98" y="0"/>
                    <a:pt x="97" y="9"/>
                    <a:pt x="98" y="14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îš1íďê">
              <a:extLst>
                <a:ext uri="{FF2B5EF4-FFF2-40B4-BE49-F238E27FC236}">
                  <a16:creationId xmlns:a16="http://schemas.microsoft.com/office/drawing/2014/main" id="{A204202B-90D5-40B1-8216-92177CFE1769}"/>
                </a:ext>
              </a:extLst>
            </p:cNvPr>
            <p:cNvSpPr/>
            <p:nvPr/>
          </p:nvSpPr>
          <p:spPr bwMode="auto">
            <a:xfrm>
              <a:off x="7551738" y="3171825"/>
              <a:ext cx="398463" cy="642938"/>
            </a:xfrm>
            <a:custGeom>
              <a:avLst/>
              <a:gdLst>
                <a:gd name="T0" fmla="*/ 38 w 290"/>
                <a:gd name="T1" fmla="*/ 29 h 468"/>
                <a:gd name="T2" fmla="*/ 37 w 290"/>
                <a:gd name="T3" fmla="*/ 55 h 468"/>
                <a:gd name="T4" fmla="*/ 24 w 290"/>
                <a:gd name="T5" fmla="*/ 80 h 468"/>
                <a:gd name="T6" fmla="*/ 41 w 290"/>
                <a:gd name="T7" fmla="*/ 120 h 468"/>
                <a:gd name="T8" fmla="*/ 58 w 290"/>
                <a:gd name="T9" fmla="*/ 281 h 468"/>
                <a:gd name="T10" fmla="*/ 21 w 290"/>
                <a:gd name="T11" fmla="*/ 409 h 468"/>
                <a:gd name="T12" fmla="*/ 0 w 290"/>
                <a:gd name="T13" fmla="*/ 444 h 468"/>
                <a:gd name="T14" fmla="*/ 57 w 290"/>
                <a:gd name="T15" fmla="*/ 439 h 468"/>
                <a:gd name="T16" fmla="*/ 124 w 290"/>
                <a:gd name="T17" fmla="*/ 463 h 468"/>
                <a:gd name="T18" fmla="*/ 161 w 290"/>
                <a:gd name="T19" fmla="*/ 440 h 468"/>
                <a:gd name="T20" fmla="*/ 241 w 290"/>
                <a:gd name="T21" fmla="*/ 439 h 468"/>
                <a:gd name="T22" fmla="*/ 258 w 290"/>
                <a:gd name="T23" fmla="*/ 438 h 468"/>
                <a:gd name="T24" fmla="*/ 269 w 290"/>
                <a:gd name="T25" fmla="*/ 429 h 468"/>
                <a:gd name="T26" fmla="*/ 289 w 290"/>
                <a:gd name="T27" fmla="*/ 376 h 468"/>
                <a:gd name="T28" fmla="*/ 269 w 290"/>
                <a:gd name="T29" fmla="*/ 323 h 468"/>
                <a:gd name="T30" fmla="*/ 253 w 290"/>
                <a:gd name="T31" fmla="*/ 307 h 468"/>
                <a:gd name="T32" fmla="*/ 246 w 290"/>
                <a:gd name="T33" fmla="*/ 283 h 468"/>
                <a:gd name="T34" fmla="*/ 243 w 290"/>
                <a:gd name="T35" fmla="*/ 151 h 468"/>
                <a:gd name="T36" fmla="*/ 230 w 290"/>
                <a:gd name="T37" fmla="*/ 106 h 468"/>
                <a:gd name="T38" fmla="*/ 226 w 290"/>
                <a:gd name="T39" fmla="*/ 48 h 468"/>
                <a:gd name="T40" fmla="*/ 192 w 290"/>
                <a:gd name="T41" fmla="*/ 19 h 468"/>
                <a:gd name="T42" fmla="*/ 147 w 290"/>
                <a:gd name="T43" fmla="*/ 11 h 468"/>
                <a:gd name="T44" fmla="*/ 38 w 290"/>
                <a:gd name="T45" fmla="*/ 29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0" h="468">
                  <a:moveTo>
                    <a:pt x="38" y="29"/>
                  </a:moveTo>
                  <a:cubicBezTo>
                    <a:pt x="35" y="37"/>
                    <a:pt x="39" y="46"/>
                    <a:pt x="37" y="55"/>
                  </a:cubicBezTo>
                  <a:cubicBezTo>
                    <a:pt x="35" y="64"/>
                    <a:pt x="26" y="71"/>
                    <a:pt x="24" y="80"/>
                  </a:cubicBezTo>
                  <a:cubicBezTo>
                    <a:pt x="20" y="95"/>
                    <a:pt x="32" y="108"/>
                    <a:pt x="41" y="120"/>
                  </a:cubicBezTo>
                  <a:cubicBezTo>
                    <a:pt x="74" y="164"/>
                    <a:pt x="70" y="226"/>
                    <a:pt x="58" y="281"/>
                  </a:cubicBezTo>
                  <a:cubicBezTo>
                    <a:pt x="49" y="324"/>
                    <a:pt x="37" y="367"/>
                    <a:pt x="21" y="409"/>
                  </a:cubicBezTo>
                  <a:cubicBezTo>
                    <a:pt x="16" y="421"/>
                    <a:pt x="10" y="435"/>
                    <a:pt x="0" y="444"/>
                  </a:cubicBezTo>
                  <a:cubicBezTo>
                    <a:pt x="19" y="439"/>
                    <a:pt x="38" y="434"/>
                    <a:pt x="57" y="439"/>
                  </a:cubicBezTo>
                  <a:cubicBezTo>
                    <a:pt x="80" y="445"/>
                    <a:pt x="100" y="468"/>
                    <a:pt x="124" y="463"/>
                  </a:cubicBezTo>
                  <a:cubicBezTo>
                    <a:pt x="138" y="460"/>
                    <a:pt x="148" y="447"/>
                    <a:pt x="161" y="440"/>
                  </a:cubicBezTo>
                  <a:cubicBezTo>
                    <a:pt x="185" y="427"/>
                    <a:pt x="214" y="435"/>
                    <a:pt x="241" y="439"/>
                  </a:cubicBezTo>
                  <a:cubicBezTo>
                    <a:pt x="246" y="441"/>
                    <a:pt x="252" y="440"/>
                    <a:pt x="258" y="438"/>
                  </a:cubicBezTo>
                  <a:cubicBezTo>
                    <a:pt x="262" y="436"/>
                    <a:pt x="266" y="433"/>
                    <a:pt x="269" y="429"/>
                  </a:cubicBezTo>
                  <a:cubicBezTo>
                    <a:pt x="281" y="413"/>
                    <a:pt x="288" y="395"/>
                    <a:pt x="289" y="376"/>
                  </a:cubicBezTo>
                  <a:cubicBezTo>
                    <a:pt x="290" y="356"/>
                    <a:pt x="283" y="337"/>
                    <a:pt x="269" y="323"/>
                  </a:cubicBezTo>
                  <a:cubicBezTo>
                    <a:pt x="264" y="318"/>
                    <a:pt x="257" y="313"/>
                    <a:pt x="253" y="307"/>
                  </a:cubicBezTo>
                  <a:cubicBezTo>
                    <a:pt x="248" y="300"/>
                    <a:pt x="246" y="291"/>
                    <a:pt x="246" y="283"/>
                  </a:cubicBezTo>
                  <a:cubicBezTo>
                    <a:pt x="243" y="239"/>
                    <a:pt x="254" y="194"/>
                    <a:pt x="243" y="151"/>
                  </a:cubicBezTo>
                  <a:cubicBezTo>
                    <a:pt x="239" y="136"/>
                    <a:pt x="232" y="122"/>
                    <a:pt x="230" y="106"/>
                  </a:cubicBezTo>
                  <a:cubicBezTo>
                    <a:pt x="228" y="87"/>
                    <a:pt x="233" y="66"/>
                    <a:pt x="226" y="48"/>
                  </a:cubicBezTo>
                  <a:cubicBezTo>
                    <a:pt x="220" y="34"/>
                    <a:pt x="206" y="24"/>
                    <a:pt x="192" y="19"/>
                  </a:cubicBezTo>
                  <a:cubicBezTo>
                    <a:pt x="177" y="15"/>
                    <a:pt x="162" y="12"/>
                    <a:pt x="147" y="11"/>
                  </a:cubicBezTo>
                  <a:cubicBezTo>
                    <a:pt x="125" y="9"/>
                    <a:pt x="47" y="0"/>
                    <a:pt x="38" y="29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šḻiḍe">
              <a:extLst>
                <a:ext uri="{FF2B5EF4-FFF2-40B4-BE49-F238E27FC236}">
                  <a16:creationId xmlns:a16="http://schemas.microsoft.com/office/drawing/2014/main" id="{FCD7297A-B85B-4881-864C-6F6B3B620C3C}"/>
                </a:ext>
              </a:extLst>
            </p:cNvPr>
            <p:cNvSpPr/>
            <p:nvPr/>
          </p:nvSpPr>
          <p:spPr bwMode="auto">
            <a:xfrm>
              <a:off x="7588250" y="3265488"/>
              <a:ext cx="4763" cy="6350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0 w 3"/>
                <a:gd name="T5" fmla="*/ 4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2" y="2"/>
                    <a:pt x="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i$1íḋè">
              <a:extLst>
                <a:ext uri="{FF2B5EF4-FFF2-40B4-BE49-F238E27FC236}">
                  <a16:creationId xmlns:a16="http://schemas.microsoft.com/office/drawing/2014/main" id="{89877CEA-1344-42B8-A565-34D5C58FFAC9}"/>
                </a:ext>
              </a:extLst>
            </p:cNvPr>
            <p:cNvSpPr/>
            <p:nvPr/>
          </p:nvSpPr>
          <p:spPr bwMode="auto">
            <a:xfrm>
              <a:off x="7588250" y="3271838"/>
              <a:ext cx="0" cy="0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ïsliďé">
              <a:extLst>
                <a:ext uri="{FF2B5EF4-FFF2-40B4-BE49-F238E27FC236}">
                  <a16:creationId xmlns:a16="http://schemas.microsoft.com/office/drawing/2014/main" id="{C323CED7-5D17-4AAC-8965-3653F41A2137}"/>
                </a:ext>
              </a:extLst>
            </p:cNvPr>
            <p:cNvSpPr/>
            <p:nvPr/>
          </p:nvSpPr>
          <p:spPr bwMode="auto">
            <a:xfrm>
              <a:off x="7593013" y="3316288"/>
              <a:ext cx="52388" cy="211138"/>
            </a:xfrm>
            <a:custGeom>
              <a:avLst/>
              <a:gdLst>
                <a:gd name="T0" fmla="*/ 36 w 38"/>
                <a:gd name="T1" fmla="*/ 83 h 153"/>
                <a:gd name="T2" fmla="*/ 33 w 38"/>
                <a:gd name="T3" fmla="*/ 153 h 153"/>
                <a:gd name="T4" fmla="*/ 33 w 38"/>
                <a:gd name="T5" fmla="*/ 153 h 153"/>
                <a:gd name="T6" fmla="*/ 36 w 38"/>
                <a:gd name="T7" fmla="*/ 83 h 153"/>
                <a:gd name="T8" fmla="*/ 36 w 38"/>
                <a:gd name="T9" fmla="*/ 83 h 153"/>
                <a:gd name="T10" fmla="*/ 0 w 38"/>
                <a:gd name="T11" fmla="*/ 0 h 153"/>
                <a:gd name="T12" fmla="*/ 5 w 38"/>
                <a:gd name="T13" fmla="*/ 7 h 153"/>
                <a:gd name="T14" fmla="*/ 5 w 38"/>
                <a:gd name="T15" fmla="*/ 7 h 153"/>
                <a:gd name="T16" fmla="*/ 0 w 38"/>
                <a:gd name="T17" fmla="*/ 0 h 153"/>
                <a:gd name="T18" fmla="*/ 0 w 38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153">
                  <a:moveTo>
                    <a:pt x="36" y="83"/>
                  </a:moveTo>
                  <a:cubicBezTo>
                    <a:pt x="38" y="106"/>
                    <a:pt x="36" y="130"/>
                    <a:pt x="33" y="153"/>
                  </a:cubicBezTo>
                  <a:cubicBezTo>
                    <a:pt x="33" y="153"/>
                    <a:pt x="33" y="153"/>
                    <a:pt x="33" y="153"/>
                  </a:cubicBezTo>
                  <a:cubicBezTo>
                    <a:pt x="36" y="130"/>
                    <a:pt x="38" y="106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moveTo>
                    <a:pt x="0" y="0"/>
                  </a:moveTo>
                  <a:cubicBezTo>
                    <a:pt x="1" y="2"/>
                    <a:pt x="3" y="5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3" y="5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îṡliďè">
              <a:extLst>
                <a:ext uri="{FF2B5EF4-FFF2-40B4-BE49-F238E27FC236}">
                  <a16:creationId xmlns:a16="http://schemas.microsoft.com/office/drawing/2014/main" id="{357FD8BF-AB10-47DC-A976-4AD885CCE216}"/>
                </a:ext>
              </a:extLst>
            </p:cNvPr>
            <p:cNvSpPr/>
            <p:nvPr/>
          </p:nvSpPr>
          <p:spPr bwMode="auto">
            <a:xfrm>
              <a:off x="7581900" y="3287713"/>
              <a:ext cx="11113" cy="28575"/>
            </a:xfrm>
            <a:custGeom>
              <a:avLst/>
              <a:gdLst>
                <a:gd name="T0" fmla="*/ 1 w 8"/>
                <a:gd name="T1" fmla="*/ 0 h 21"/>
                <a:gd name="T2" fmla="*/ 1 w 8"/>
                <a:gd name="T3" fmla="*/ 0 h 21"/>
                <a:gd name="T4" fmla="*/ 8 w 8"/>
                <a:gd name="T5" fmla="*/ 21 h 21"/>
                <a:gd name="T6" fmla="*/ 8 w 8"/>
                <a:gd name="T7" fmla="*/ 21 h 21"/>
                <a:gd name="T8" fmla="*/ 1 w 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8"/>
                    <a:pt x="3" y="14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4" y="14"/>
                    <a:pt x="1" y="8"/>
                    <a:pt x="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ïṩļiḍè">
              <a:extLst>
                <a:ext uri="{FF2B5EF4-FFF2-40B4-BE49-F238E27FC236}">
                  <a16:creationId xmlns:a16="http://schemas.microsoft.com/office/drawing/2014/main" id="{0BAA7F60-D80E-4CF9-AEEF-2867CD5E12F0}"/>
                </a:ext>
              </a:extLst>
            </p:cNvPr>
            <p:cNvSpPr/>
            <p:nvPr/>
          </p:nvSpPr>
          <p:spPr bwMode="auto">
            <a:xfrm>
              <a:off x="7583488" y="3281363"/>
              <a:ext cx="1588" cy="6350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0 h 4"/>
                <a:gd name="T4" fmla="*/ 0 w 1"/>
                <a:gd name="T5" fmla="*/ 4 h 4"/>
                <a:gd name="T6" fmla="*/ 0 w 1"/>
                <a:gd name="T7" fmla="*/ 4 h 4"/>
                <a:gd name="T8" fmla="*/ 1 w 1"/>
                <a:gd name="T9" fmla="*/ 0 h 4"/>
                <a:gd name="T10" fmla="*/ 1 w 1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îšḷïḓe">
              <a:extLst>
                <a:ext uri="{FF2B5EF4-FFF2-40B4-BE49-F238E27FC236}">
                  <a16:creationId xmlns:a16="http://schemas.microsoft.com/office/drawing/2014/main" id="{A09CB846-12BB-4728-B3B1-81A5AF59FC36}"/>
                </a:ext>
              </a:extLst>
            </p:cNvPr>
            <p:cNvSpPr/>
            <p:nvPr/>
          </p:nvSpPr>
          <p:spPr bwMode="auto">
            <a:xfrm>
              <a:off x="7599363" y="3325813"/>
              <a:ext cx="42863" cy="104775"/>
            </a:xfrm>
            <a:custGeom>
              <a:avLst/>
              <a:gdLst>
                <a:gd name="T0" fmla="*/ 0 w 31"/>
                <a:gd name="T1" fmla="*/ 0 h 76"/>
                <a:gd name="T2" fmla="*/ 0 w 31"/>
                <a:gd name="T3" fmla="*/ 0 h 76"/>
                <a:gd name="T4" fmla="*/ 6 w 31"/>
                <a:gd name="T5" fmla="*/ 8 h 76"/>
                <a:gd name="T6" fmla="*/ 31 w 31"/>
                <a:gd name="T7" fmla="*/ 76 h 76"/>
                <a:gd name="T8" fmla="*/ 31 w 31"/>
                <a:gd name="T9" fmla="*/ 76 h 76"/>
                <a:gd name="T10" fmla="*/ 6 w 31"/>
                <a:gd name="T11" fmla="*/ 8 h 76"/>
                <a:gd name="T12" fmla="*/ 0 w 31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7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"/>
                    <a:pt x="4" y="5"/>
                    <a:pt x="6" y="8"/>
                  </a:cubicBezTo>
                  <a:cubicBezTo>
                    <a:pt x="21" y="28"/>
                    <a:pt x="28" y="51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28" y="51"/>
                    <a:pt x="21" y="28"/>
                    <a:pt x="6" y="8"/>
                  </a:cubicBezTo>
                  <a:cubicBezTo>
                    <a:pt x="4" y="5"/>
                    <a:pt x="2" y="3"/>
                    <a:pt x="0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ïśḻïḓè">
              <a:extLst>
                <a:ext uri="{FF2B5EF4-FFF2-40B4-BE49-F238E27FC236}">
                  <a16:creationId xmlns:a16="http://schemas.microsoft.com/office/drawing/2014/main" id="{87727654-3AB1-42CE-8D5E-644649D04B1B}"/>
                </a:ext>
              </a:extLst>
            </p:cNvPr>
            <p:cNvSpPr/>
            <p:nvPr/>
          </p:nvSpPr>
          <p:spPr bwMode="auto">
            <a:xfrm>
              <a:off x="7580313" y="3527425"/>
              <a:ext cx="57150" cy="204788"/>
            </a:xfrm>
            <a:custGeom>
              <a:avLst/>
              <a:gdLst>
                <a:gd name="T0" fmla="*/ 42 w 42"/>
                <a:gd name="T1" fmla="*/ 0 h 150"/>
                <a:gd name="T2" fmla="*/ 42 w 42"/>
                <a:gd name="T3" fmla="*/ 0 h 150"/>
                <a:gd name="T4" fmla="*/ 37 w 42"/>
                <a:gd name="T5" fmla="*/ 23 h 150"/>
                <a:gd name="T6" fmla="*/ 0 w 42"/>
                <a:gd name="T7" fmla="*/ 150 h 150"/>
                <a:gd name="T8" fmla="*/ 0 w 42"/>
                <a:gd name="T9" fmla="*/ 150 h 150"/>
                <a:gd name="T10" fmla="*/ 37 w 42"/>
                <a:gd name="T11" fmla="*/ 23 h 150"/>
                <a:gd name="T12" fmla="*/ 42 w 42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50"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0" y="8"/>
                    <a:pt x="39" y="15"/>
                    <a:pt x="37" y="23"/>
                  </a:cubicBezTo>
                  <a:cubicBezTo>
                    <a:pt x="28" y="66"/>
                    <a:pt x="16" y="109"/>
                    <a:pt x="0" y="150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16" y="108"/>
                    <a:pt x="28" y="66"/>
                    <a:pt x="37" y="23"/>
                  </a:cubicBezTo>
                  <a:cubicBezTo>
                    <a:pt x="39" y="15"/>
                    <a:pt x="40" y="8"/>
                    <a:pt x="42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îšľïḍe">
              <a:extLst>
                <a:ext uri="{FF2B5EF4-FFF2-40B4-BE49-F238E27FC236}">
                  <a16:creationId xmlns:a16="http://schemas.microsoft.com/office/drawing/2014/main" id="{F321143E-48AE-471F-BFF8-313A6A2A68D9}"/>
                </a:ext>
              </a:extLst>
            </p:cNvPr>
            <p:cNvSpPr/>
            <p:nvPr/>
          </p:nvSpPr>
          <p:spPr bwMode="auto">
            <a:xfrm>
              <a:off x="7580313" y="3265488"/>
              <a:ext cx="84138" cy="466725"/>
            </a:xfrm>
            <a:custGeom>
              <a:avLst/>
              <a:gdLst>
                <a:gd name="T0" fmla="*/ 10 w 61"/>
                <a:gd name="T1" fmla="*/ 0 h 340"/>
                <a:gd name="T2" fmla="*/ 9 w 61"/>
                <a:gd name="T3" fmla="*/ 0 h 340"/>
                <a:gd name="T4" fmla="*/ 6 w 61"/>
                <a:gd name="T5" fmla="*/ 4 h 340"/>
                <a:gd name="T6" fmla="*/ 6 w 61"/>
                <a:gd name="T7" fmla="*/ 5 h 340"/>
                <a:gd name="T8" fmla="*/ 3 w 61"/>
                <a:gd name="T9" fmla="*/ 12 h 340"/>
                <a:gd name="T10" fmla="*/ 3 w 61"/>
                <a:gd name="T11" fmla="*/ 12 h 340"/>
                <a:gd name="T12" fmla="*/ 2 w 61"/>
                <a:gd name="T13" fmla="*/ 16 h 340"/>
                <a:gd name="T14" fmla="*/ 9 w 61"/>
                <a:gd name="T15" fmla="*/ 37 h 340"/>
                <a:gd name="T16" fmla="*/ 14 w 61"/>
                <a:gd name="T17" fmla="*/ 44 h 340"/>
                <a:gd name="T18" fmla="*/ 20 w 61"/>
                <a:gd name="T19" fmla="*/ 52 h 340"/>
                <a:gd name="T20" fmla="*/ 45 w 61"/>
                <a:gd name="T21" fmla="*/ 120 h 340"/>
                <a:gd name="T22" fmla="*/ 42 w 61"/>
                <a:gd name="T23" fmla="*/ 190 h 340"/>
                <a:gd name="T24" fmla="*/ 37 w 61"/>
                <a:gd name="T25" fmla="*/ 213 h 340"/>
                <a:gd name="T26" fmla="*/ 0 w 61"/>
                <a:gd name="T27" fmla="*/ 340 h 340"/>
                <a:gd name="T28" fmla="*/ 7 w 61"/>
                <a:gd name="T29" fmla="*/ 323 h 340"/>
                <a:gd name="T30" fmla="*/ 45 w 61"/>
                <a:gd name="T31" fmla="*/ 195 h 340"/>
                <a:gd name="T32" fmla="*/ 27 w 61"/>
                <a:gd name="T33" fmla="*/ 34 h 340"/>
                <a:gd name="T34" fmla="*/ 10 w 61"/>
                <a:gd name="T35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340">
                  <a:moveTo>
                    <a:pt x="1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8" y="2"/>
                    <a:pt x="7" y="3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7"/>
                    <a:pt x="4" y="10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2" y="24"/>
                    <a:pt x="5" y="30"/>
                    <a:pt x="9" y="37"/>
                  </a:cubicBezTo>
                  <a:cubicBezTo>
                    <a:pt x="10" y="39"/>
                    <a:pt x="12" y="42"/>
                    <a:pt x="14" y="44"/>
                  </a:cubicBezTo>
                  <a:cubicBezTo>
                    <a:pt x="16" y="47"/>
                    <a:pt x="18" y="49"/>
                    <a:pt x="20" y="52"/>
                  </a:cubicBezTo>
                  <a:cubicBezTo>
                    <a:pt x="35" y="72"/>
                    <a:pt x="42" y="95"/>
                    <a:pt x="45" y="120"/>
                  </a:cubicBezTo>
                  <a:cubicBezTo>
                    <a:pt x="47" y="143"/>
                    <a:pt x="45" y="167"/>
                    <a:pt x="42" y="190"/>
                  </a:cubicBezTo>
                  <a:cubicBezTo>
                    <a:pt x="40" y="198"/>
                    <a:pt x="39" y="205"/>
                    <a:pt x="37" y="213"/>
                  </a:cubicBezTo>
                  <a:cubicBezTo>
                    <a:pt x="28" y="256"/>
                    <a:pt x="16" y="298"/>
                    <a:pt x="0" y="340"/>
                  </a:cubicBezTo>
                  <a:cubicBezTo>
                    <a:pt x="3" y="334"/>
                    <a:pt x="5" y="329"/>
                    <a:pt x="7" y="323"/>
                  </a:cubicBezTo>
                  <a:cubicBezTo>
                    <a:pt x="23" y="282"/>
                    <a:pt x="36" y="239"/>
                    <a:pt x="45" y="195"/>
                  </a:cubicBezTo>
                  <a:cubicBezTo>
                    <a:pt x="56" y="141"/>
                    <a:pt x="61" y="79"/>
                    <a:pt x="27" y="34"/>
                  </a:cubicBezTo>
                  <a:cubicBezTo>
                    <a:pt x="19" y="24"/>
                    <a:pt x="9" y="12"/>
                    <a:pt x="10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ïṥḻîďé">
              <a:extLst>
                <a:ext uri="{FF2B5EF4-FFF2-40B4-BE49-F238E27FC236}">
                  <a16:creationId xmlns:a16="http://schemas.microsoft.com/office/drawing/2014/main" id="{9AD7B804-9AE9-414F-A195-F3AC6F0D737D}"/>
                </a:ext>
              </a:extLst>
            </p:cNvPr>
            <p:cNvSpPr/>
            <p:nvPr/>
          </p:nvSpPr>
          <p:spPr bwMode="auto">
            <a:xfrm>
              <a:off x="7600950" y="3198813"/>
              <a:ext cx="11113" cy="31750"/>
            </a:xfrm>
            <a:custGeom>
              <a:avLst/>
              <a:gdLst>
                <a:gd name="T0" fmla="*/ 2 w 8"/>
                <a:gd name="T1" fmla="*/ 9 h 22"/>
                <a:gd name="T2" fmla="*/ 2 w 8"/>
                <a:gd name="T3" fmla="*/ 9 h 22"/>
                <a:gd name="T4" fmla="*/ 1 w 8"/>
                <a:gd name="T5" fmla="*/ 22 h 22"/>
                <a:gd name="T6" fmla="*/ 1 w 8"/>
                <a:gd name="T7" fmla="*/ 22 h 22"/>
                <a:gd name="T8" fmla="*/ 2 w 8"/>
                <a:gd name="T9" fmla="*/ 9 h 22"/>
                <a:gd name="T10" fmla="*/ 2 w 8"/>
                <a:gd name="T11" fmla="*/ 9 h 22"/>
                <a:gd name="T12" fmla="*/ 8 w 8"/>
                <a:gd name="T13" fmla="*/ 0 h 22"/>
                <a:gd name="T14" fmla="*/ 5 w 8"/>
                <a:gd name="T15" fmla="*/ 3 h 22"/>
                <a:gd name="T16" fmla="*/ 8 w 8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22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13"/>
                    <a:pt x="1" y="18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18"/>
                    <a:pt x="0" y="13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moveTo>
                    <a:pt x="8" y="0"/>
                  </a:moveTo>
                  <a:cubicBezTo>
                    <a:pt x="7" y="1"/>
                    <a:pt x="6" y="2"/>
                    <a:pt x="5" y="3"/>
                  </a:cubicBezTo>
                  <a:cubicBezTo>
                    <a:pt x="6" y="2"/>
                    <a:pt x="7" y="1"/>
                    <a:pt x="8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îsḻîḍê">
              <a:extLst>
                <a:ext uri="{FF2B5EF4-FFF2-40B4-BE49-F238E27FC236}">
                  <a16:creationId xmlns:a16="http://schemas.microsoft.com/office/drawing/2014/main" id="{EEEDEB41-BAE3-4F42-93BC-66997A544BAB}"/>
                </a:ext>
              </a:extLst>
            </p:cNvPr>
            <p:cNvSpPr/>
            <p:nvPr/>
          </p:nvSpPr>
          <p:spPr bwMode="auto">
            <a:xfrm>
              <a:off x="7602538" y="3230563"/>
              <a:ext cx="1588" cy="11113"/>
            </a:xfrm>
            <a:custGeom>
              <a:avLst/>
              <a:gdLst>
                <a:gd name="T0" fmla="*/ 0 w 1"/>
                <a:gd name="T1" fmla="*/ 0 h 9"/>
                <a:gd name="T2" fmla="*/ 0 w 1"/>
                <a:gd name="T3" fmla="*/ 0 h 9"/>
                <a:gd name="T4" fmla="*/ 1 w 1"/>
                <a:gd name="T5" fmla="*/ 9 h 9"/>
                <a:gd name="T6" fmla="*/ 1 w 1"/>
                <a:gd name="T7" fmla="*/ 9 h 9"/>
                <a:gd name="T8" fmla="*/ 0 w 1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1" y="6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6"/>
                    <a:pt x="1" y="3"/>
                    <a:pt x="0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ísḷïḑè">
              <a:extLst>
                <a:ext uri="{FF2B5EF4-FFF2-40B4-BE49-F238E27FC236}">
                  <a16:creationId xmlns:a16="http://schemas.microsoft.com/office/drawing/2014/main" id="{5757C398-DD88-4452-A24F-A71389775CF3}"/>
                </a:ext>
              </a:extLst>
            </p:cNvPr>
            <p:cNvSpPr/>
            <p:nvPr/>
          </p:nvSpPr>
          <p:spPr bwMode="auto">
            <a:xfrm>
              <a:off x="7600950" y="3198813"/>
              <a:ext cx="12700" cy="42863"/>
            </a:xfrm>
            <a:custGeom>
              <a:avLst/>
              <a:gdLst>
                <a:gd name="T0" fmla="*/ 8 w 9"/>
                <a:gd name="T1" fmla="*/ 0 h 32"/>
                <a:gd name="T2" fmla="*/ 8 w 9"/>
                <a:gd name="T3" fmla="*/ 1 h 32"/>
                <a:gd name="T4" fmla="*/ 5 w 9"/>
                <a:gd name="T5" fmla="*/ 4 h 32"/>
                <a:gd name="T6" fmla="*/ 2 w 9"/>
                <a:gd name="T7" fmla="*/ 10 h 32"/>
                <a:gd name="T8" fmla="*/ 2 w 9"/>
                <a:gd name="T9" fmla="*/ 10 h 32"/>
                <a:gd name="T10" fmla="*/ 1 w 9"/>
                <a:gd name="T11" fmla="*/ 23 h 32"/>
                <a:gd name="T12" fmla="*/ 2 w 9"/>
                <a:gd name="T13" fmla="*/ 32 h 32"/>
                <a:gd name="T14" fmla="*/ 9 w 9"/>
                <a:gd name="T15" fmla="*/ 18 h 32"/>
                <a:gd name="T16" fmla="*/ 8 w 9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32">
                  <a:moveTo>
                    <a:pt x="8" y="0"/>
                  </a:moveTo>
                  <a:cubicBezTo>
                    <a:pt x="8" y="0"/>
                    <a:pt x="8" y="1"/>
                    <a:pt x="8" y="1"/>
                  </a:cubicBezTo>
                  <a:cubicBezTo>
                    <a:pt x="7" y="2"/>
                    <a:pt x="6" y="3"/>
                    <a:pt x="5" y="4"/>
                  </a:cubicBezTo>
                  <a:cubicBezTo>
                    <a:pt x="3" y="6"/>
                    <a:pt x="2" y="8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14"/>
                    <a:pt x="1" y="19"/>
                    <a:pt x="1" y="23"/>
                  </a:cubicBezTo>
                  <a:cubicBezTo>
                    <a:pt x="2" y="26"/>
                    <a:pt x="2" y="29"/>
                    <a:pt x="2" y="32"/>
                  </a:cubicBezTo>
                  <a:cubicBezTo>
                    <a:pt x="5" y="28"/>
                    <a:pt x="7" y="23"/>
                    <a:pt x="9" y="18"/>
                  </a:cubicBezTo>
                  <a:cubicBezTo>
                    <a:pt x="9" y="12"/>
                    <a:pt x="9" y="6"/>
                    <a:pt x="8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îşľidé">
              <a:extLst>
                <a:ext uri="{FF2B5EF4-FFF2-40B4-BE49-F238E27FC236}">
                  <a16:creationId xmlns:a16="http://schemas.microsoft.com/office/drawing/2014/main" id="{5A43D6F9-1428-4CB2-BCED-FD7368B05B67}"/>
                </a:ext>
              </a:extLst>
            </p:cNvPr>
            <p:cNvSpPr/>
            <p:nvPr/>
          </p:nvSpPr>
          <p:spPr bwMode="auto">
            <a:xfrm>
              <a:off x="7551738" y="3756025"/>
              <a:ext cx="323850" cy="53975"/>
            </a:xfrm>
            <a:custGeom>
              <a:avLst/>
              <a:gdLst>
                <a:gd name="T0" fmla="*/ 7 w 235"/>
                <a:gd name="T1" fmla="*/ 11 h 39"/>
                <a:gd name="T2" fmla="*/ 1 w 235"/>
                <a:gd name="T3" fmla="*/ 18 h 39"/>
                <a:gd name="T4" fmla="*/ 7 w 235"/>
                <a:gd name="T5" fmla="*/ 11 h 39"/>
                <a:gd name="T6" fmla="*/ 192 w 235"/>
                <a:gd name="T7" fmla="*/ 8 h 39"/>
                <a:gd name="T8" fmla="*/ 161 w 235"/>
                <a:gd name="T9" fmla="*/ 15 h 39"/>
                <a:gd name="T10" fmla="*/ 124 w 235"/>
                <a:gd name="T11" fmla="*/ 38 h 39"/>
                <a:gd name="T12" fmla="*/ 117 w 235"/>
                <a:gd name="T13" fmla="*/ 39 h 39"/>
                <a:gd name="T14" fmla="*/ 57 w 235"/>
                <a:gd name="T15" fmla="*/ 14 h 39"/>
                <a:gd name="T16" fmla="*/ 41 w 235"/>
                <a:gd name="T17" fmla="*/ 12 h 39"/>
                <a:gd name="T18" fmla="*/ 0 w 235"/>
                <a:gd name="T19" fmla="*/ 19 h 39"/>
                <a:gd name="T20" fmla="*/ 0 w 235"/>
                <a:gd name="T21" fmla="*/ 19 h 39"/>
                <a:gd name="T22" fmla="*/ 41 w 235"/>
                <a:gd name="T23" fmla="*/ 12 h 39"/>
                <a:gd name="T24" fmla="*/ 57 w 235"/>
                <a:gd name="T25" fmla="*/ 14 h 39"/>
                <a:gd name="T26" fmla="*/ 117 w 235"/>
                <a:gd name="T27" fmla="*/ 39 h 39"/>
                <a:gd name="T28" fmla="*/ 124 w 235"/>
                <a:gd name="T29" fmla="*/ 38 h 39"/>
                <a:gd name="T30" fmla="*/ 161 w 235"/>
                <a:gd name="T31" fmla="*/ 15 h 39"/>
                <a:gd name="T32" fmla="*/ 192 w 235"/>
                <a:gd name="T33" fmla="*/ 8 h 39"/>
                <a:gd name="T34" fmla="*/ 235 w 235"/>
                <a:gd name="T35" fmla="*/ 13 h 39"/>
                <a:gd name="T36" fmla="*/ 235 w 235"/>
                <a:gd name="T37" fmla="*/ 13 h 39"/>
                <a:gd name="T38" fmla="*/ 192 w 235"/>
                <a:gd name="T39" fmla="*/ 8 h 39"/>
                <a:gd name="T40" fmla="*/ 14 w 235"/>
                <a:gd name="T41" fmla="*/ 0 h 39"/>
                <a:gd name="T42" fmla="*/ 14 w 235"/>
                <a:gd name="T43" fmla="*/ 0 h 39"/>
                <a:gd name="T44" fmla="*/ 13 w 235"/>
                <a:gd name="T45" fmla="*/ 2 h 39"/>
                <a:gd name="T46" fmla="*/ 14 w 235"/>
                <a:gd name="T4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5" h="39">
                  <a:moveTo>
                    <a:pt x="7" y="11"/>
                  </a:moveTo>
                  <a:cubicBezTo>
                    <a:pt x="6" y="13"/>
                    <a:pt x="4" y="16"/>
                    <a:pt x="1" y="18"/>
                  </a:cubicBezTo>
                  <a:cubicBezTo>
                    <a:pt x="4" y="16"/>
                    <a:pt x="6" y="13"/>
                    <a:pt x="7" y="11"/>
                  </a:cubicBezTo>
                  <a:moveTo>
                    <a:pt x="192" y="8"/>
                  </a:moveTo>
                  <a:cubicBezTo>
                    <a:pt x="181" y="8"/>
                    <a:pt x="171" y="10"/>
                    <a:pt x="161" y="15"/>
                  </a:cubicBezTo>
                  <a:cubicBezTo>
                    <a:pt x="148" y="22"/>
                    <a:pt x="138" y="35"/>
                    <a:pt x="124" y="38"/>
                  </a:cubicBezTo>
                  <a:cubicBezTo>
                    <a:pt x="121" y="38"/>
                    <a:pt x="119" y="39"/>
                    <a:pt x="117" y="39"/>
                  </a:cubicBezTo>
                  <a:cubicBezTo>
                    <a:pt x="96" y="39"/>
                    <a:pt x="78" y="20"/>
                    <a:pt x="57" y="14"/>
                  </a:cubicBezTo>
                  <a:cubicBezTo>
                    <a:pt x="51" y="12"/>
                    <a:pt x="46" y="12"/>
                    <a:pt x="41" y="12"/>
                  </a:cubicBezTo>
                  <a:cubicBezTo>
                    <a:pt x="27" y="12"/>
                    <a:pt x="13" y="16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3" y="16"/>
                    <a:pt x="27" y="12"/>
                    <a:pt x="41" y="12"/>
                  </a:cubicBezTo>
                  <a:cubicBezTo>
                    <a:pt x="46" y="12"/>
                    <a:pt x="51" y="12"/>
                    <a:pt x="57" y="14"/>
                  </a:cubicBezTo>
                  <a:cubicBezTo>
                    <a:pt x="78" y="20"/>
                    <a:pt x="96" y="39"/>
                    <a:pt x="117" y="39"/>
                  </a:cubicBezTo>
                  <a:cubicBezTo>
                    <a:pt x="119" y="39"/>
                    <a:pt x="121" y="38"/>
                    <a:pt x="124" y="38"/>
                  </a:cubicBezTo>
                  <a:cubicBezTo>
                    <a:pt x="138" y="35"/>
                    <a:pt x="148" y="22"/>
                    <a:pt x="161" y="15"/>
                  </a:cubicBezTo>
                  <a:cubicBezTo>
                    <a:pt x="171" y="10"/>
                    <a:pt x="181" y="8"/>
                    <a:pt x="192" y="8"/>
                  </a:cubicBezTo>
                  <a:cubicBezTo>
                    <a:pt x="206" y="8"/>
                    <a:pt x="221" y="11"/>
                    <a:pt x="235" y="13"/>
                  </a:cubicBezTo>
                  <a:cubicBezTo>
                    <a:pt x="235" y="13"/>
                    <a:pt x="235" y="13"/>
                    <a:pt x="235" y="13"/>
                  </a:cubicBezTo>
                  <a:cubicBezTo>
                    <a:pt x="221" y="11"/>
                    <a:pt x="206" y="8"/>
                    <a:pt x="192" y="8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2"/>
                  </a:cubicBezTo>
                  <a:cubicBezTo>
                    <a:pt x="13" y="1"/>
                    <a:pt x="13" y="1"/>
                    <a:pt x="14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îṧļîḑe">
              <a:extLst>
                <a:ext uri="{FF2B5EF4-FFF2-40B4-BE49-F238E27FC236}">
                  <a16:creationId xmlns:a16="http://schemas.microsoft.com/office/drawing/2014/main" id="{F711A4EF-5E15-4C3D-998E-635C1F75961B}"/>
                </a:ext>
              </a:extLst>
            </p:cNvPr>
            <p:cNvSpPr/>
            <p:nvPr/>
          </p:nvSpPr>
          <p:spPr bwMode="auto">
            <a:xfrm>
              <a:off x="7875588" y="3717925"/>
              <a:ext cx="68263" cy="58738"/>
            </a:xfrm>
            <a:custGeom>
              <a:avLst/>
              <a:gdLst>
                <a:gd name="T0" fmla="*/ 35 w 50"/>
                <a:gd name="T1" fmla="*/ 30 h 43"/>
                <a:gd name="T2" fmla="*/ 34 w 50"/>
                <a:gd name="T3" fmla="*/ 32 h 43"/>
                <a:gd name="T4" fmla="*/ 23 w 50"/>
                <a:gd name="T5" fmla="*/ 41 h 43"/>
                <a:gd name="T6" fmla="*/ 13 w 50"/>
                <a:gd name="T7" fmla="*/ 43 h 43"/>
                <a:gd name="T8" fmla="*/ 6 w 50"/>
                <a:gd name="T9" fmla="*/ 42 h 43"/>
                <a:gd name="T10" fmla="*/ 0 w 50"/>
                <a:gd name="T11" fmla="*/ 41 h 43"/>
                <a:gd name="T12" fmla="*/ 0 w 50"/>
                <a:gd name="T13" fmla="*/ 41 h 43"/>
                <a:gd name="T14" fmla="*/ 6 w 50"/>
                <a:gd name="T15" fmla="*/ 42 h 43"/>
                <a:gd name="T16" fmla="*/ 13 w 50"/>
                <a:gd name="T17" fmla="*/ 43 h 43"/>
                <a:gd name="T18" fmla="*/ 23 w 50"/>
                <a:gd name="T19" fmla="*/ 41 h 43"/>
                <a:gd name="T20" fmla="*/ 34 w 50"/>
                <a:gd name="T21" fmla="*/ 32 h 43"/>
                <a:gd name="T22" fmla="*/ 35 w 50"/>
                <a:gd name="T23" fmla="*/ 30 h 43"/>
                <a:gd name="T24" fmla="*/ 50 w 50"/>
                <a:gd name="T25" fmla="*/ 0 h 43"/>
                <a:gd name="T26" fmla="*/ 50 w 50"/>
                <a:gd name="T27" fmla="*/ 1 h 43"/>
                <a:gd name="T28" fmla="*/ 48 w 50"/>
                <a:gd name="T29" fmla="*/ 5 h 43"/>
                <a:gd name="T30" fmla="*/ 50 w 50"/>
                <a:gd name="T3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43">
                  <a:moveTo>
                    <a:pt x="35" y="30"/>
                  </a:moveTo>
                  <a:cubicBezTo>
                    <a:pt x="34" y="31"/>
                    <a:pt x="34" y="31"/>
                    <a:pt x="34" y="32"/>
                  </a:cubicBezTo>
                  <a:cubicBezTo>
                    <a:pt x="31" y="36"/>
                    <a:pt x="27" y="39"/>
                    <a:pt x="23" y="41"/>
                  </a:cubicBezTo>
                  <a:cubicBezTo>
                    <a:pt x="20" y="43"/>
                    <a:pt x="16" y="43"/>
                    <a:pt x="13" y="43"/>
                  </a:cubicBezTo>
                  <a:cubicBezTo>
                    <a:pt x="10" y="43"/>
                    <a:pt x="8" y="43"/>
                    <a:pt x="6" y="42"/>
                  </a:cubicBezTo>
                  <a:cubicBezTo>
                    <a:pt x="4" y="42"/>
                    <a:pt x="2" y="42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2" y="42"/>
                    <a:pt x="4" y="42"/>
                    <a:pt x="6" y="42"/>
                  </a:cubicBezTo>
                  <a:cubicBezTo>
                    <a:pt x="8" y="43"/>
                    <a:pt x="10" y="43"/>
                    <a:pt x="13" y="43"/>
                  </a:cubicBezTo>
                  <a:cubicBezTo>
                    <a:pt x="16" y="43"/>
                    <a:pt x="20" y="43"/>
                    <a:pt x="23" y="41"/>
                  </a:cubicBezTo>
                  <a:cubicBezTo>
                    <a:pt x="27" y="39"/>
                    <a:pt x="31" y="36"/>
                    <a:pt x="34" y="32"/>
                  </a:cubicBezTo>
                  <a:cubicBezTo>
                    <a:pt x="34" y="31"/>
                    <a:pt x="34" y="31"/>
                    <a:pt x="35" y="30"/>
                  </a:cubicBezTo>
                  <a:moveTo>
                    <a:pt x="50" y="0"/>
                  </a:moveTo>
                  <a:cubicBezTo>
                    <a:pt x="50" y="0"/>
                    <a:pt x="50" y="0"/>
                    <a:pt x="50" y="1"/>
                  </a:cubicBezTo>
                  <a:cubicBezTo>
                    <a:pt x="49" y="2"/>
                    <a:pt x="49" y="4"/>
                    <a:pt x="48" y="5"/>
                  </a:cubicBezTo>
                  <a:cubicBezTo>
                    <a:pt x="49" y="4"/>
                    <a:pt x="50" y="2"/>
                    <a:pt x="50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işḻíḋê">
              <a:extLst>
                <a:ext uri="{FF2B5EF4-FFF2-40B4-BE49-F238E27FC236}">
                  <a16:creationId xmlns:a16="http://schemas.microsoft.com/office/drawing/2014/main" id="{F79D74CA-9C4A-4CE9-A2DA-315EFA627708}"/>
                </a:ext>
              </a:extLst>
            </p:cNvPr>
            <p:cNvSpPr/>
            <p:nvPr/>
          </p:nvSpPr>
          <p:spPr bwMode="auto">
            <a:xfrm>
              <a:off x="7551738" y="3719513"/>
              <a:ext cx="392113" cy="90488"/>
            </a:xfrm>
            <a:custGeom>
              <a:avLst/>
              <a:gdLst>
                <a:gd name="T0" fmla="*/ 285 w 285"/>
                <a:gd name="T1" fmla="*/ 0 h 66"/>
                <a:gd name="T2" fmla="*/ 276 w 285"/>
                <a:gd name="T3" fmla="*/ 13 h 66"/>
                <a:gd name="T4" fmla="*/ 266 w 285"/>
                <a:gd name="T5" fmla="*/ 23 h 66"/>
                <a:gd name="T6" fmla="*/ 255 w 285"/>
                <a:gd name="T7" fmla="*/ 25 h 66"/>
                <a:gd name="T8" fmla="*/ 248 w 285"/>
                <a:gd name="T9" fmla="*/ 24 h 66"/>
                <a:gd name="T10" fmla="*/ 199 w 285"/>
                <a:gd name="T11" fmla="*/ 17 h 66"/>
                <a:gd name="T12" fmla="*/ 168 w 285"/>
                <a:gd name="T13" fmla="*/ 24 h 66"/>
                <a:gd name="T14" fmla="*/ 131 w 285"/>
                <a:gd name="T15" fmla="*/ 47 h 66"/>
                <a:gd name="T16" fmla="*/ 124 w 285"/>
                <a:gd name="T17" fmla="*/ 48 h 66"/>
                <a:gd name="T18" fmla="*/ 64 w 285"/>
                <a:gd name="T19" fmla="*/ 23 h 66"/>
                <a:gd name="T20" fmla="*/ 48 w 285"/>
                <a:gd name="T21" fmla="*/ 21 h 66"/>
                <a:gd name="T22" fmla="*/ 14 w 285"/>
                <a:gd name="T23" fmla="*/ 27 h 66"/>
                <a:gd name="T24" fmla="*/ 13 w 285"/>
                <a:gd name="T25" fmla="*/ 29 h 66"/>
                <a:gd name="T26" fmla="*/ 7 w 285"/>
                <a:gd name="T27" fmla="*/ 38 h 66"/>
                <a:gd name="T28" fmla="*/ 1 w 285"/>
                <a:gd name="T29" fmla="*/ 45 h 66"/>
                <a:gd name="T30" fmla="*/ 0 w 285"/>
                <a:gd name="T31" fmla="*/ 46 h 66"/>
                <a:gd name="T32" fmla="*/ 41 w 285"/>
                <a:gd name="T33" fmla="*/ 39 h 66"/>
                <a:gd name="T34" fmla="*/ 57 w 285"/>
                <a:gd name="T35" fmla="*/ 41 h 66"/>
                <a:gd name="T36" fmla="*/ 117 w 285"/>
                <a:gd name="T37" fmla="*/ 66 h 66"/>
                <a:gd name="T38" fmla="*/ 124 w 285"/>
                <a:gd name="T39" fmla="*/ 65 h 66"/>
                <a:gd name="T40" fmla="*/ 161 w 285"/>
                <a:gd name="T41" fmla="*/ 42 h 66"/>
                <a:gd name="T42" fmla="*/ 192 w 285"/>
                <a:gd name="T43" fmla="*/ 35 h 66"/>
                <a:gd name="T44" fmla="*/ 235 w 285"/>
                <a:gd name="T45" fmla="*/ 40 h 66"/>
                <a:gd name="T46" fmla="*/ 241 w 285"/>
                <a:gd name="T47" fmla="*/ 41 h 66"/>
                <a:gd name="T48" fmla="*/ 248 w 285"/>
                <a:gd name="T49" fmla="*/ 42 h 66"/>
                <a:gd name="T50" fmla="*/ 258 w 285"/>
                <a:gd name="T51" fmla="*/ 40 h 66"/>
                <a:gd name="T52" fmla="*/ 269 w 285"/>
                <a:gd name="T53" fmla="*/ 31 h 66"/>
                <a:gd name="T54" fmla="*/ 270 w 285"/>
                <a:gd name="T55" fmla="*/ 29 h 66"/>
                <a:gd name="T56" fmla="*/ 283 w 285"/>
                <a:gd name="T57" fmla="*/ 4 h 66"/>
                <a:gd name="T58" fmla="*/ 285 w 285"/>
                <a:gd name="T5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5" h="66">
                  <a:moveTo>
                    <a:pt x="285" y="0"/>
                  </a:moveTo>
                  <a:cubicBezTo>
                    <a:pt x="282" y="4"/>
                    <a:pt x="279" y="9"/>
                    <a:pt x="276" y="13"/>
                  </a:cubicBezTo>
                  <a:cubicBezTo>
                    <a:pt x="273" y="17"/>
                    <a:pt x="270" y="21"/>
                    <a:pt x="266" y="23"/>
                  </a:cubicBezTo>
                  <a:cubicBezTo>
                    <a:pt x="262" y="24"/>
                    <a:pt x="259" y="25"/>
                    <a:pt x="255" y="25"/>
                  </a:cubicBezTo>
                  <a:cubicBezTo>
                    <a:pt x="253" y="25"/>
                    <a:pt x="251" y="24"/>
                    <a:pt x="248" y="24"/>
                  </a:cubicBezTo>
                  <a:cubicBezTo>
                    <a:pt x="232" y="21"/>
                    <a:pt x="215" y="17"/>
                    <a:pt x="199" y="17"/>
                  </a:cubicBezTo>
                  <a:cubicBezTo>
                    <a:pt x="188" y="17"/>
                    <a:pt x="178" y="19"/>
                    <a:pt x="168" y="24"/>
                  </a:cubicBezTo>
                  <a:cubicBezTo>
                    <a:pt x="156" y="31"/>
                    <a:pt x="146" y="44"/>
                    <a:pt x="131" y="47"/>
                  </a:cubicBezTo>
                  <a:cubicBezTo>
                    <a:pt x="129" y="48"/>
                    <a:pt x="127" y="48"/>
                    <a:pt x="124" y="48"/>
                  </a:cubicBezTo>
                  <a:cubicBezTo>
                    <a:pt x="104" y="48"/>
                    <a:pt x="85" y="29"/>
                    <a:pt x="64" y="23"/>
                  </a:cubicBezTo>
                  <a:cubicBezTo>
                    <a:pt x="59" y="22"/>
                    <a:pt x="54" y="21"/>
                    <a:pt x="48" y="21"/>
                  </a:cubicBezTo>
                  <a:cubicBezTo>
                    <a:pt x="37" y="21"/>
                    <a:pt x="25" y="24"/>
                    <a:pt x="14" y="27"/>
                  </a:cubicBezTo>
                  <a:cubicBezTo>
                    <a:pt x="13" y="28"/>
                    <a:pt x="13" y="28"/>
                    <a:pt x="13" y="29"/>
                  </a:cubicBezTo>
                  <a:cubicBezTo>
                    <a:pt x="11" y="32"/>
                    <a:pt x="9" y="35"/>
                    <a:pt x="7" y="38"/>
                  </a:cubicBezTo>
                  <a:cubicBezTo>
                    <a:pt x="6" y="40"/>
                    <a:pt x="4" y="43"/>
                    <a:pt x="1" y="45"/>
                  </a:cubicBezTo>
                  <a:cubicBezTo>
                    <a:pt x="1" y="46"/>
                    <a:pt x="1" y="46"/>
                    <a:pt x="0" y="46"/>
                  </a:cubicBezTo>
                  <a:cubicBezTo>
                    <a:pt x="13" y="43"/>
                    <a:pt x="27" y="39"/>
                    <a:pt x="41" y="39"/>
                  </a:cubicBezTo>
                  <a:cubicBezTo>
                    <a:pt x="46" y="39"/>
                    <a:pt x="51" y="39"/>
                    <a:pt x="57" y="41"/>
                  </a:cubicBezTo>
                  <a:cubicBezTo>
                    <a:pt x="78" y="47"/>
                    <a:pt x="96" y="66"/>
                    <a:pt x="117" y="66"/>
                  </a:cubicBezTo>
                  <a:cubicBezTo>
                    <a:pt x="119" y="66"/>
                    <a:pt x="121" y="65"/>
                    <a:pt x="124" y="65"/>
                  </a:cubicBezTo>
                  <a:cubicBezTo>
                    <a:pt x="138" y="62"/>
                    <a:pt x="148" y="49"/>
                    <a:pt x="161" y="42"/>
                  </a:cubicBezTo>
                  <a:cubicBezTo>
                    <a:pt x="171" y="37"/>
                    <a:pt x="181" y="35"/>
                    <a:pt x="192" y="35"/>
                  </a:cubicBezTo>
                  <a:cubicBezTo>
                    <a:pt x="206" y="35"/>
                    <a:pt x="221" y="38"/>
                    <a:pt x="235" y="40"/>
                  </a:cubicBezTo>
                  <a:cubicBezTo>
                    <a:pt x="237" y="41"/>
                    <a:pt x="239" y="41"/>
                    <a:pt x="241" y="41"/>
                  </a:cubicBezTo>
                  <a:cubicBezTo>
                    <a:pt x="243" y="42"/>
                    <a:pt x="245" y="42"/>
                    <a:pt x="248" y="42"/>
                  </a:cubicBezTo>
                  <a:cubicBezTo>
                    <a:pt x="251" y="42"/>
                    <a:pt x="255" y="42"/>
                    <a:pt x="258" y="40"/>
                  </a:cubicBezTo>
                  <a:cubicBezTo>
                    <a:pt x="262" y="38"/>
                    <a:pt x="266" y="35"/>
                    <a:pt x="269" y="31"/>
                  </a:cubicBezTo>
                  <a:cubicBezTo>
                    <a:pt x="269" y="30"/>
                    <a:pt x="269" y="30"/>
                    <a:pt x="270" y="29"/>
                  </a:cubicBezTo>
                  <a:cubicBezTo>
                    <a:pt x="275" y="22"/>
                    <a:pt x="280" y="13"/>
                    <a:pt x="283" y="4"/>
                  </a:cubicBezTo>
                  <a:cubicBezTo>
                    <a:pt x="284" y="3"/>
                    <a:pt x="284" y="1"/>
                    <a:pt x="285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ís1iḋé">
              <a:extLst>
                <a:ext uri="{FF2B5EF4-FFF2-40B4-BE49-F238E27FC236}">
                  <a16:creationId xmlns:a16="http://schemas.microsoft.com/office/drawing/2014/main" id="{19E13AA9-2A99-4D30-A1E5-A5D62C55E0C3}"/>
                </a:ext>
              </a:extLst>
            </p:cNvPr>
            <p:cNvSpPr/>
            <p:nvPr/>
          </p:nvSpPr>
          <p:spPr bwMode="auto">
            <a:xfrm>
              <a:off x="8147050" y="4676775"/>
              <a:ext cx="206375" cy="266700"/>
            </a:xfrm>
            <a:custGeom>
              <a:avLst/>
              <a:gdLst>
                <a:gd name="T0" fmla="*/ 75 w 149"/>
                <a:gd name="T1" fmla="*/ 0 h 194"/>
                <a:gd name="T2" fmla="*/ 64 w 149"/>
                <a:gd name="T3" fmla="*/ 78 h 194"/>
                <a:gd name="T4" fmla="*/ 12 w 149"/>
                <a:gd name="T5" fmla="*/ 194 h 194"/>
                <a:gd name="T6" fmla="*/ 107 w 149"/>
                <a:gd name="T7" fmla="*/ 106 h 194"/>
                <a:gd name="T8" fmla="*/ 75 w 149"/>
                <a:gd name="T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94">
                  <a:moveTo>
                    <a:pt x="75" y="0"/>
                  </a:moveTo>
                  <a:cubicBezTo>
                    <a:pt x="75" y="0"/>
                    <a:pt x="98" y="31"/>
                    <a:pt x="64" y="78"/>
                  </a:cubicBezTo>
                  <a:cubicBezTo>
                    <a:pt x="29" y="125"/>
                    <a:pt x="0" y="165"/>
                    <a:pt x="12" y="194"/>
                  </a:cubicBezTo>
                  <a:cubicBezTo>
                    <a:pt x="12" y="194"/>
                    <a:pt x="64" y="107"/>
                    <a:pt x="107" y="106"/>
                  </a:cubicBezTo>
                  <a:cubicBezTo>
                    <a:pt x="149" y="105"/>
                    <a:pt x="121" y="53"/>
                    <a:pt x="75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iṡḻïḋé">
              <a:extLst>
                <a:ext uri="{FF2B5EF4-FFF2-40B4-BE49-F238E27FC236}">
                  <a16:creationId xmlns:a16="http://schemas.microsoft.com/office/drawing/2014/main" id="{1EBC2315-B949-40AA-9694-50AB760E1794}"/>
                </a:ext>
              </a:extLst>
            </p:cNvPr>
            <p:cNvSpPr/>
            <p:nvPr/>
          </p:nvSpPr>
          <p:spPr bwMode="auto">
            <a:xfrm>
              <a:off x="8164513" y="4676775"/>
              <a:ext cx="158750" cy="266700"/>
            </a:xfrm>
            <a:custGeom>
              <a:avLst/>
              <a:gdLst>
                <a:gd name="T0" fmla="*/ 0 w 116"/>
                <a:gd name="T1" fmla="*/ 193 h 194"/>
                <a:gd name="T2" fmla="*/ 0 w 116"/>
                <a:gd name="T3" fmla="*/ 194 h 194"/>
                <a:gd name="T4" fmla="*/ 0 w 116"/>
                <a:gd name="T5" fmla="*/ 194 h 194"/>
                <a:gd name="T6" fmla="*/ 0 w 116"/>
                <a:gd name="T7" fmla="*/ 194 h 194"/>
                <a:gd name="T8" fmla="*/ 0 w 116"/>
                <a:gd name="T9" fmla="*/ 194 h 194"/>
                <a:gd name="T10" fmla="*/ 0 w 116"/>
                <a:gd name="T11" fmla="*/ 194 h 194"/>
                <a:gd name="T12" fmla="*/ 0 w 116"/>
                <a:gd name="T13" fmla="*/ 193 h 194"/>
                <a:gd name="T14" fmla="*/ 116 w 116"/>
                <a:gd name="T15" fmla="*/ 88 h 194"/>
                <a:gd name="T16" fmla="*/ 95 w 116"/>
                <a:gd name="T17" fmla="*/ 106 h 194"/>
                <a:gd name="T18" fmla="*/ 0 w 116"/>
                <a:gd name="T19" fmla="*/ 193 h 194"/>
                <a:gd name="T20" fmla="*/ 0 w 116"/>
                <a:gd name="T21" fmla="*/ 193 h 194"/>
                <a:gd name="T22" fmla="*/ 95 w 116"/>
                <a:gd name="T23" fmla="*/ 106 h 194"/>
                <a:gd name="T24" fmla="*/ 116 w 116"/>
                <a:gd name="T25" fmla="*/ 88 h 194"/>
                <a:gd name="T26" fmla="*/ 67 w 116"/>
                <a:gd name="T27" fmla="*/ 9 h 194"/>
                <a:gd name="T28" fmla="*/ 67 w 116"/>
                <a:gd name="T29" fmla="*/ 10 h 194"/>
                <a:gd name="T30" fmla="*/ 67 w 116"/>
                <a:gd name="T31" fmla="*/ 10 h 194"/>
                <a:gd name="T32" fmla="*/ 67 w 116"/>
                <a:gd name="T33" fmla="*/ 9 h 194"/>
                <a:gd name="T34" fmla="*/ 63 w 116"/>
                <a:gd name="T35" fmla="*/ 0 h 194"/>
                <a:gd name="T36" fmla="*/ 64 w 116"/>
                <a:gd name="T37" fmla="*/ 3 h 194"/>
                <a:gd name="T38" fmla="*/ 63 w 116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6" h="194">
                  <a:moveTo>
                    <a:pt x="0" y="193"/>
                  </a:move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3"/>
                    <a:pt x="0" y="193"/>
                    <a:pt x="0" y="193"/>
                  </a:cubicBezTo>
                  <a:moveTo>
                    <a:pt x="116" y="88"/>
                  </a:moveTo>
                  <a:cubicBezTo>
                    <a:pt x="116" y="99"/>
                    <a:pt x="109" y="105"/>
                    <a:pt x="95" y="106"/>
                  </a:cubicBezTo>
                  <a:cubicBezTo>
                    <a:pt x="54" y="107"/>
                    <a:pt x="5" y="185"/>
                    <a:pt x="0" y="193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4" y="187"/>
                    <a:pt x="54" y="107"/>
                    <a:pt x="95" y="106"/>
                  </a:cubicBezTo>
                  <a:cubicBezTo>
                    <a:pt x="110" y="105"/>
                    <a:pt x="116" y="99"/>
                    <a:pt x="116" y="88"/>
                  </a:cubicBezTo>
                  <a:moveTo>
                    <a:pt x="67" y="9"/>
                  </a:moveTo>
                  <a:cubicBezTo>
                    <a:pt x="67" y="9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9"/>
                    <a:pt x="67" y="9"/>
                  </a:cubicBezTo>
                  <a:moveTo>
                    <a:pt x="63" y="0"/>
                  </a:moveTo>
                  <a:cubicBezTo>
                    <a:pt x="63" y="1"/>
                    <a:pt x="64" y="2"/>
                    <a:pt x="64" y="3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šlïḋé">
              <a:extLst>
                <a:ext uri="{FF2B5EF4-FFF2-40B4-BE49-F238E27FC236}">
                  <a16:creationId xmlns:a16="http://schemas.microsoft.com/office/drawing/2014/main" id="{89391437-DF6C-4537-88AC-22B964BCDF37}"/>
                </a:ext>
              </a:extLst>
            </p:cNvPr>
            <p:cNvSpPr/>
            <p:nvPr/>
          </p:nvSpPr>
          <p:spPr bwMode="auto">
            <a:xfrm>
              <a:off x="8164513" y="4676775"/>
              <a:ext cx="179388" cy="266700"/>
            </a:xfrm>
            <a:custGeom>
              <a:avLst/>
              <a:gdLst>
                <a:gd name="T0" fmla="*/ 0 w 131"/>
                <a:gd name="T1" fmla="*/ 194 h 194"/>
                <a:gd name="T2" fmla="*/ 0 w 131"/>
                <a:gd name="T3" fmla="*/ 194 h 194"/>
                <a:gd name="T4" fmla="*/ 0 w 131"/>
                <a:gd name="T5" fmla="*/ 194 h 194"/>
                <a:gd name="T6" fmla="*/ 0 w 131"/>
                <a:gd name="T7" fmla="*/ 194 h 194"/>
                <a:gd name="T8" fmla="*/ 63 w 131"/>
                <a:gd name="T9" fmla="*/ 0 h 194"/>
                <a:gd name="T10" fmla="*/ 63 w 131"/>
                <a:gd name="T11" fmla="*/ 0 h 194"/>
                <a:gd name="T12" fmla="*/ 64 w 131"/>
                <a:gd name="T13" fmla="*/ 3 h 194"/>
                <a:gd name="T14" fmla="*/ 67 w 131"/>
                <a:gd name="T15" fmla="*/ 9 h 194"/>
                <a:gd name="T16" fmla="*/ 67 w 131"/>
                <a:gd name="T17" fmla="*/ 10 h 194"/>
                <a:gd name="T18" fmla="*/ 91 w 131"/>
                <a:gd name="T19" fmla="*/ 105 h 194"/>
                <a:gd name="T20" fmla="*/ 2 w 131"/>
                <a:gd name="T21" fmla="*/ 184 h 194"/>
                <a:gd name="T22" fmla="*/ 1 w 131"/>
                <a:gd name="T23" fmla="*/ 190 h 194"/>
                <a:gd name="T24" fmla="*/ 1 w 131"/>
                <a:gd name="T25" fmla="*/ 190 h 194"/>
                <a:gd name="T26" fmla="*/ 1 w 131"/>
                <a:gd name="T27" fmla="*/ 191 h 194"/>
                <a:gd name="T28" fmla="*/ 1 w 131"/>
                <a:gd name="T29" fmla="*/ 192 h 194"/>
                <a:gd name="T30" fmla="*/ 0 w 131"/>
                <a:gd name="T31" fmla="*/ 193 h 194"/>
                <a:gd name="T32" fmla="*/ 95 w 131"/>
                <a:gd name="T33" fmla="*/ 106 h 194"/>
                <a:gd name="T34" fmla="*/ 116 w 131"/>
                <a:gd name="T35" fmla="*/ 88 h 194"/>
                <a:gd name="T36" fmla="*/ 63 w 131"/>
                <a:gd name="T37" fmla="*/ 1 h 194"/>
                <a:gd name="T38" fmla="*/ 63 w 131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1" h="194">
                  <a:moveTo>
                    <a:pt x="0" y="194"/>
                  </a:move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moveTo>
                    <a:pt x="63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63" y="1"/>
                    <a:pt x="64" y="3"/>
                  </a:cubicBezTo>
                  <a:cubicBezTo>
                    <a:pt x="65" y="5"/>
                    <a:pt x="66" y="7"/>
                    <a:pt x="67" y="9"/>
                  </a:cubicBezTo>
                  <a:cubicBezTo>
                    <a:pt x="67" y="9"/>
                    <a:pt x="67" y="10"/>
                    <a:pt x="67" y="10"/>
                  </a:cubicBezTo>
                  <a:cubicBezTo>
                    <a:pt x="109" y="59"/>
                    <a:pt x="131" y="104"/>
                    <a:pt x="91" y="105"/>
                  </a:cubicBezTo>
                  <a:cubicBezTo>
                    <a:pt x="57" y="106"/>
                    <a:pt x="17" y="161"/>
                    <a:pt x="2" y="184"/>
                  </a:cubicBezTo>
                  <a:cubicBezTo>
                    <a:pt x="2" y="186"/>
                    <a:pt x="2" y="188"/>
                    <a:pt x="1" y="190"/>
                  </a:cubicBezTo>
                  <a:cubicBezTo>
                    <a:pt x="1" y="190"/>
                    <a:pt x="1" y="190"/>
                    <a:pt x="1" y="190"/>
                  </a:cubicBezTo>
                  <a:cubicBezTo>
                    <a:pt x="1" y="190"/>
                    <a:pt x="1" y="191"/>
                    <a:pt x="1" y="191"/>
                  </a:cubicBezTo>
                  <a:cubicBezTo>
                    <a:pt x="1" y="191"/>
                    <a:pt x="1" y="192"/>
                    <a:pt x="1" y="192"/>
                  </a:cubicBezTo>
                  <a:cubicBezTo>
                    <a:pt x="1" y="192"/>
                    <a:pt x="0" y="193"/>
                    <a:pt x="0" y="193"/>
                  </a:cubicBezTo>
                  <a:cubicBezTo>
                    <a:pt x="5" y="185"/>
                    <a:pt x="54" y="107"/>
                    <a:pt x="95" y="106"/>
                  </a:cubicBezTo>
                  <a:cubicBezTo>
                    <a:pt x="109" y="105"/>
                    <a:pt x="116" y="99"/>
                    <a:pt x="116" y="88"/>
                  </a:cubicBezTo>
                  <a:cubicBezTo>
                    <a:pt x="116" y="69"/>
                    <a:pt x="93" y="35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ïŝľiďe">
              <a:extLst>
                <a:ext uri="{FF2B5EF4-FFF2-40B4-BE49-F238E27FC236}">
                  <a16:creationId xmlns:a16="http://schemas.microsoft.com/office/drawing/2014/main" id="{C6A7B704-7BB9-4BCD-A409-89B081B0E9BD}"/>
                </a:ext>
              </a:extLst>
            </p:cNvPr>
            <p:cNvSpPr/>
            <p:nvPr/>
          </p:nvSpPr>
          <p:spPr bwMode="auto">
            <a:xfrm>
              <a:off x="8302625" y="4716463"/>
              <a:ext cx="9525" cy="42863"/>
            </a:xfrm>
            <a:custGeom>
              <a:avLst/>
              <a:gdLst>
                <a:gd name="T0" fmla="*/ 6 w 6"/>
                <a:gd name="T1" fmla="*/ 11 h 31"/>
                <a:gd name="T2" fmla="*/ 3 w 6"/>
                <a:gd name="T3" fmla="*/ 31 h 31"/>
                <a:gd name="T4" fmla="*/ 0 w 6"/>
                <a:gd name="T5" fmla="*/ 11 h 31"/>
                <a:gd name="T6" fmla="*/ 3 w 6"/>
                <a:gd name="T7" fmla="*/ 5 h 31"/>
                <a:gd name="T8" fmla="*/ 6 w 6"/>
                <a:gd name="T9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1">
                  <a:moveTo>
                    <a:pt x="6" y="11"/>
                  </a:moveTo>
                  <a:cubicBezTo>
                    <a:pt x="6" y="22"/>
                    <a:pt x="4" y="31"/>
                    <a:pt x="3" y="31"/>
                  </a:cubicBezTo>
                  <a:cubicBezTo>
                    <a:pt x="1" y="31"/>
                    <a:pt x="0" y="22"/>
                    <a:pt x="0" y="11"/>
                  </a:cubicBezTo>
                  <a:cubicBezTo>
                    <a:pt x="0" y="0"/>
                    <a:pt x="2" y="5"/>
                    <a:pt x="3" y="5"/>
                  </a:cubicBezTo>
                  <a:cubicBezTo>
                    <a:pt x="5" y="5"/>
                    <a:pt x="6" y="0"/>
                    <a:pt x="6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ïšļïḑè">
              <a:extLst>
                <a:ext uri="{FF2B5EF4-FFF2-40B4-BE49-F238E27FC236}">
                  <a16:creationId xmlns:a16="http://schemas.microsoft.com/office/drawing/2014/main" id="{5D0663BC-024F-4280-91BF-81B46E82ED5D}"/>
                </a:ext>
              </a:extLst>
            </p:cNvPr>
            <p:cNvSpPr/>
            <p:nvPr/>
          </p:nvSpPr>
          <p:spPr bwMode="auto">
            <a:xfrm>
              <a:off x="8304213" y="4735513"/>
              <a:ext cx="39688" cy="25400"/>
            </a:xfrm>
            <a:custGeom>
              <a:avLst/>
              <a:gdLst>
                <a:gd name="T0" fmla="*/ 20 w 29"/>
                <a:gd name="T1" fmla="*/ 11 h 19"/>
                <a:gd name="T2" fmla="*/ 1 w 29"/>
                <a:gd name="T3" fmla="*/ 18 h 19"/>
                <a:gd name="T4" fmla="*/ 17 w 29"/>
                <a:gd name="T5" fmla="*/ 6 h 19"/>
                <a:gd name="T6" fmla="*/ 24 w 29"/>
                <a:gd name="T7" fmla="*/ 6 h 19"/>
                <a:gd name="T8" fmla="*/ 20 w 29"/>
                <a:gd name="T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0" y="11"/>
                  </a:moveTo>
                  <a:cubicBezTo>
                    <a:pt x="10" y="16"/>
                    <a:pt x="2" y="19"/>
                    <a:pt x="1" y="18"/>
                  </a:cubicBezTo>
                  <a:cubicBezTo>
                    <a:pt x="0" y="17"/>
                    <a:pt x="8" y="11"/>
                    <a:pt x="17" y="6"/>
                  </a:cubicBezTo>
                  <a:cubicBezTo>
                    <a:pt x="27" y="0"/>
                    <a:pt x="23" y="4"/>
                    <a:pt x="24" y="6"/>
                  </a:cubicBezTo>
                  <a:cubicBezTo>
                    <a:pt x="24" y="7"/>
                    <a:pt x="29" y="6"/>
                    <a:pt x="20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Sḻiḍè">
              <a:extLst>
                <a:ext uri="{FF2B5EF4-FFF2-40B4-BE49-F238E27FC236}">
                  <a16:creationId xmlns:a16="http://schemas.microsoft.com/office/drawing/2014/main" id="{4CA7A401-58E5-4E75-AB5B-9D719CE27533}"/>
                </a:ext>
              </a:extLst>
            </p:cNvPr>
            <p:cNvSpPr/>
            <p:nvPr/>
          </p:nvSpPr>
          <p:spPr bwMode="auto">
            <a:xfrm>
              <a:off x="7975600" y="4676775"/>
              <a:ext cx="204788" cy="266700"/>
            </a:xfrm>
            <a:custGeom>
              <a:avLst/>
              <a:gdLst>
                <a:gd name="T0" fmla="*/ 74 w 149"/>
                <a:gd name="T1" fmla="*/ 0 h 194"/>
                <a:gd name="T2" fmla="*/ 85 w 149"/>
                <a:gd name="T3" fmla="*/ 78 h 194"/>
                <a:gd name="T4" fmla="*/ 137 w 149"/>
                <a:gd name="T5" fmla="*/ 194 h 194"/>
                <a:gd name="T6" fmla="*/ 42 w 149"/>
                <a:gd name="T7" fmla="*/ 106 h 194"/>
                <a:gd name="T8" fmla="*/ 74 w 149"/>
                <a:gd name="T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94">
                  <a:moveTo>
                    <a:pt x="74" y="0"/>
                  </a:moveTo>
                  <a:cubicBezTo>
                    <a:pt x="74" y="0"/>
                    <a:pt x="51" y="31"/>
                    <a:pt x="85" y="78"/>
                  </a:cubicBezTo>
                  <a:cubicBezTo>
                    <a:pt x="120" y="125"/>
                    <a:pt x="149" y="164"/>
                    <a:pt x="137" y="194"/>
                  </a:cubicBezTo>
                  <a:cubicBezTo>
                    <a:pt x="137" y="194"/>
                    <a:pt x="85" y="107"/>
                    <a:pt x="42" y="106"/>
                  </a:cubicBezTo>
                  <a:cubicBezTo>
                    <a:pt x="0" y="105"/>
                    <a:pt x="27" y="53"/>
                    <a:pt x="74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íṡḷïďé">
              <a:extLst>
                <a:ext uri="{FF2B5EF4-FFF2-40B4-BE49-F238E27FC236}">
                  <a16:creationId xmlns:a16="http://schemas.microsoft.com/office/drawing/2014/main" id="{97827F36-C3F7-4BB3-8F7A-834042638814}"/>
                </a:ext>
              </a:extLst>
            </p:cNvPr>
            <p:cNvSpPr/>
            <p:nvPr/>
          </p:nvSpPr>
          <p:spPr bwMode="auto">
            <a:xfrm>
              <a:off x="8004175" y="4676775"/>
              <a:ext cx="160338" cy="266700"/>
            </a:xfrm>
            <a:custGeom>
              <a:avLst/>
              <a:gdLst>
                <a:gd name="T0" fmla="*/ 116 w 116"/>
                <a:gd name="T1" fmla="*/ 193 h 194"/>
                <a:gd name="T2" fmla="*/ 116 w 116"/>
                <a:gd name="T3" fmla="*/ 194 h 194"/>
                <a:gd name="T4" fmla="*/ 116 w 116"/>
                <a:gd name="T5" fmla="*/ 194 h 194"/>
                <a:gd name="T6" fmla="*/ 116 w 116"/>
                <a:gd name="T7" fmla="*/ 194 h 194"/>
                <a:gd name="T8" fmla="*/ 116 w 116"/>
                <a:gd name="T9" fmla="*/ 194 h 194"/>
                <a:gd name="T10" fmla="*/ 116 w 116"/>
                <a:gd name="T11" fmla="*/ 194 h 194"/>
                <a:gd name="T12" fmla="*/ 116 w 116"/>
                <a:gd name="T13" fmla="*/ 193 h 194"/>
                <a:gd name="T14" fmla="*/ 0 w 116"/>
                <a:gd name="T15" fmla="*/ 88 h 194"/>
                <a:gd name="T16" fmla="*/ 21 w 116"/>
                <a:gd name="T17" fmla="*/ 106 h 194"/>
                <a:gd name="T18" fmla="*/ 116 w 116"/>
                <a:gd name="T19" fmla="*/ 193 h 194"/>
                <a:gd name="T20" fmla="*/ 116 w 116"/>
                <a:gd name="T21" fmla="*/ 193 h 194"/>
                <a:gd name="T22" fmla="*/ 21 w 116"/>
                <a:gd name="T23" fmla="*/ 106 h 194"/>
                <a:gd name="T24" fmla="*/ 0 w 116"/>
                <a:gd name="T25" fmla="*/ 88 h 194"/>
                <a:gd name="T26" fmla="*/ 49 w 116"/>
                <a:gd name="T27" fmla="*/ 9 h 194"/>
                <a:gd name="T28" fmla="*/ 49 w 116"/>
                <a:gd name="T29" fmla="*/ 10 h 194"/>
                <a:gd name="T30" fmla="*/ 49 w 116"/>
                <a:gd name="T31" fmla="*/ 10 h 194"/>
                <a:gd name="T32" fmla="*/ 49 w 116"/>
                <a:gd name="T33" fmla="*/ 9 h 194"/>
                <a:gd name="T34" fmla="*/ 53 w 116"/>
                <a:gd name="T35" fmla="*/ 0 h 194"/>
                <a:gd name="T36" fmla="*/ 52 w 116"/>
                <a:gd name="T37" fmla="*/ 3 h 194"/>
                <a:gd name="T38" fmla="*/ 53 w 116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6" h="194">
                  <a:moveTo>
                    <a:pt x="116" y="193"/>
                  </a:moveTo>
                  <a:cubicBezTo>
                    <a:pt x="116" y="193"/>
                    <a:pt x="116" y="193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3"/>
                  </a:cubicBezTo>
                  <a:moveTo>
                    <a:pt x="0" y="88"/>
                  </a:moveTo>
                  <a:cubicBezTo>
                    <a:pt x="0" y="99"/>
                    <a:pt x="6" y="105"/>
                    <a:pt x="21" y="106"/>
                  </a:cubicBezTo>
                  <a:cubicBezTo>
                    <a:pt x="62" y="107"/>
                    <a:pt x="112" y="187"/>
                    <a:pt x="116" y="193"/>
                  </a:cubicBezTo>
                  <a:cubicBezTo>
                    <a:pt x="116" y="193"/>
                    <a:pt x="116" y="193"/>
                    <a:pt x="116" y="193"/>
                  </a:cubicBezTo>
                  <a:cubicBezTo>
                    <a:pt x="111" y="185"/>
                    <a:pt x="62" y="107"/>
                    <a:pt x="21" y="106"/>
                  </a:cubicBezTo>
                  <a:cubicBezTo>
                    <a:pt x="6" y="105"/>
                    <a:pt x="0" y="99"/>
                    <a:pt x="0" y="88"/>
                  </a:cubicBezTo>
                  <a:moveTo>
                    <a:pt x="49" y="9"/>
                  </a:moveTo>
                  <a:cubicBezTo>
                    <a:pt x="49" y="9"/>
                    <a:pt x="49" y="10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0"/>
                    <a:pt x="49" y="9"/>
                    <a:pt x="49" y="9"/>
                  </a:cubicBezTo>
                  <a:moveTo>
                    <a:pt x="53" y="0"/>
                  </a:moveTo>
                  <a:cubicBezTo>
                    <a:pt x="53" y="0"/>
                    <a:pt x="53" y="1"/>
                    <a:pt x="52" y="3"/>
                  </a:cubicBezTo>
                  <a:cubicBezTo>
                    <a:pt x="52" y="2"/>
                    <a:pt x="53" y="1"/>
                    <a:pt x="53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ïŝļïdé">
              <a:extLst>
                <a:ext uri="{FF2B5EF4-FFF2-40B4-BE49-F238E27FC236}">
                  <a16:creationId xmlns:a16="http://schemas.microsoft.com/office/drawing/2014/main" id="{F27CE876-E697-4473-8797-843190199A94}"/>
                </a:ext>
              </a:extLst>
            </p:cNvPr>
            <p:cNvSpPr/>
            <p:nvPr/>
          </p:nvSpPr>
          <p:spPr bwMode="auto">
            <a:xfrm>
              <a:off x="8164513" y="4941888"/>
              <a:ext cx="0" cy="1588"/>
            </a:xfrm>
            <a:custGeom>
              <a:avLst/>
              <a:gdLst>
                <a:gd name="T0" fmla="*/ 1 h 1"/>
                <a:gd name="T1" fmla="*/ 1 h 1"/>
                <a:gd name="T2" fmla="*/ 1 h 1"/>
                <a:gd name="T3" fmla="*/ 1 h 1"/>
                <a:gd name="T4" fmla="*/ 1 h 1"/>
                <a:gd name="T5" fmla="*/ 0 h 1"/>
                <a:gd name="T6" fmla="*/ 0 h 1"/>
                <a:gd name="T7" fmla="*/ 1 h 1"/>
                <a:gd name="T8" fmla="*/ 0 h 1"/>
                <a:gd name="T9" fmla="*/ 0 h 1"/>
                <a:gd name="T10" fmla="*/ 0 h 1"/>
                <a:gd name="T11" fmla="*/ 0 h 1"/>
                <a:gd name="T12" fmla="*/ 1 h 1"/>
                <a:gd name="T13" fmla="*/ 0 h 1"/>
                <a:gd name="T1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750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î$ļíḑé">
              <a:extLst>
                <a:ext uri="{FF2B5EF4-FFF2-40B4-BE49-F238E27FC236}">
                  <a16:creationId xmlns:a16="http://schemas.microsoft.com/office/drawing/2014/main" id="{E5337A26-4B39-4A62-B52D-5B2FC136C128}"/>
                </a:ext>
              </a:extLst>
            </p:cNvPr>
            <p:cNvSpPr/>
            <p:nvPr/>
          </p:nvSpPr>
          <p:spPr bwMode="auto">
            <a:xfrm>
              <a:off x="8164513" y="4938713"/>
              <a:ext cx="1588" cy="4763"/>
            </a:xfrm>
            <a:custGeom>
              <a:avLst/>
              <a:gdLst>
                <a:gd name="T0" fmla="*/ 0 w 1"/>
                <a:gd name="T1" fmla="*/ 3 h 4"/>
                <a:gd name="T2" fmla="*/ 0 w 1"/>
                <a:gd name="T3" fmla="*/ 4 h 4"/>
                <a:gd name="T4" fmla="*/ 0 w 1"/>
                <a:gd name="T5" fmla="*/ 4 h 4"/>
                <a:gd name="T6" fmla="*/ 0 w 1"/>
                <a:gd name="T7" fmla="*/ 4 h 4"/>
                <a:gd name="T8" fmla="*/ 0 w 1"/>
                <a:gd name="T9" fmla="*/ 3 h 4"/>
                <a:gd name="T10" fmla="*/ 1 w 1"/>
                <a:gd name="T11" fmla="*/ 2 h 4"/>
                <a:gd name="T12" fmla="*/ 0 w 1"/>
                <a:gd name="T13" fmla="*/ 3 h 4"/>
                <a:gd name="T14" fmla="*/ 0 w 1"/>
                <a:gd name="T15" fmla="*/ 3 h 4"/>
                <a:gd name="T16" fmla="*/ 1 w 1"/>
                <a:gd name="T17" fmla="*/ 2 h 4"/>
                <a:gd name="T18" fmla="*/ 1 w 1"/>
                <a:gd name="T19" fmla="*/ 0 h 4"/>
                <a:gd name="T20" fmla="*/ 1 w 1"/>
                <a:gd name="T21" fmla="*/ 1 h 4"/>
                <a:gd name="T22" fmla="*/ 1 w 1"/>
                <a:gd name="T23" fmla="*/ 0 h 4"/>
                <a:gd name="T24" fmla="*/ 1 w 1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" h="4">
                  <a:moveTo>
                    <a:pt x="0" y="3"/>
                  </a:move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1" y="2"/>
                  </a:move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750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íslïḋè">
              <a:extLst>
                <a:ext uri="{FF2B5EF4-FFF2-40B4-BE49-F238E27FC236}">
                  <a16:creationId xmlns:a16="http://schemas.microsoft.com/office/drawing/2014/main" id="{38FE0D97-9CBF-4277-B1F6-88886D8633F4}"/>
                </a:ext>
              </a:extLst>
            </p:cNvPr>
            <p:cNvSpPr/>
            <p:nvPr/>
          </p:nvSpPr>
          <p:spPr bwMode="auto">
            <a:xfrm>
              <a:off x="7983538" y="4676775"/>
              <a:ext cx="182563" cy="266700"/>
            </a:xfrm>
            <a:custGeom>
              <a:avLst/>
              <a:gdLst>
                <a:gd name="T0" fmla="*/ 68 w 132"/>
                <a:gd name="T1" fmla="*/ 0 h 194"/>
                <a:gd name="T2" fmla="*/ 68 w 132"/>
                <a:gd name="T3" fmla="*/ 1 h 194"/>
                <a:gd name="T4" fmla="*/ 15 w 132"/>
                <a:gd name="T5" fmla="*/ 88 h 194"/>
                <a:gd name="T6" fmla="*/ 36 w 132"/>
                <a:gd name="T7" fmla="*/ 106 h 194"/>
                <a:gd name="T8" fmla="*/ 131 w 132"/>
                <a:gd name="T9" fmla="*/ 193 h 194"/>
                <a:gd name="T10" fmla="*/ 131 w 132"/>
                <a:gd name="T11" fmla="*/ 193 h 194"/>
                <a:gd name="T12" fmla="*/ 131 w 132"/>
                <a:gd name="T13" fmla="*/ 194 h 194"/>
                <a:gd name="T14" fmla="*/ 131 w 132"/>
                <a:gd name="T15" fmla="*/ 194 h 194"/>
                <a:gd name="T16" fmla="*/ 131 w 132"/>
                <a:gd name="T17" fmla="*/ 194 h 194"/>
                <a:gd name="T18" fmla="*/ 131 w 132"/>
                <a:gd name="T19" fmla="*/ 194 h 194"/>
                <a:gd name="T20" fmla="*/ 131 w 132"/>
                <a:gd name="T21" fmla="*/ 193 h 194"/>
                <a:gd name="T22" fmla="*/ 132 w 132"/>
                <a:gd name="T23" fmla="*/ 192 h 194"/>
                <a:gd name="T24" fmla="*/ 132 w 132"/>
                <a:gd name="T25" fmla="*/ 191 h 194"/>
                <a:gd name="T26" fmla="*/ 132 w 132"/>
                <a:gd name="T27" fmla="*/ 190 h 194"/>
                <a:gd name="T28" fmla="*/ 40 w 132"/>
                <a:gd name="T29" fmla="*/ 105 h 194"/>
                <a:gd name="T30" fmla="*/ 64 w 132"/>
                <a:gd name="T31" fmla="*/ 10 h 194"/>
                <a:gd name="T32" fmla="*/ 64 w 132"/>
                <a:gd name="T33" fmla="*/ 9 h 194"/>
                <a:gd name="T34" fmla="*/ 67 w 132"/>
                <a:gd name="T35" fmla="*/ 3 h 194"/>
                <a:gd name="T36" fmla="*/ 68 w 132"/>
                <a:gd name="T37" fmla="*/ 0 h 194"/>
                <a:gd name="T38" fmla="*/ 68 w 132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2" h="194">
                  <a:moveTo>
                    <a:pt x="68" y="0"/>
                  </a:moveTo>
                  <a:cubicBezTo>
                    <a:pt x="68" y="0"/>
                    <a:pt x="68" y="1"/>
                    <a:pt x="68" y="1"/>
                  </a:cubicBezTo>
                  <a:cubicBezTo>
                    <a:pt x="38" y="35"/>
                    <a:pt x="15" y="69"/>
                    <a:pt x="15" y="88"/>
                  </a:cubicBezTo>
                  <a:cubicBezTo>
                    <a:pt x="15" y="99"/>
                    <a:pt x="21" y="105"/>
                    <a:pt x="36" y="106"/>
                  </a:cubicBezTo>
                  <a:cubicBezTo>
                    <a:pt x="77" y="107"/>
                    <a:pt x="126" y="185"/>
                    <a:pt x="131" y="193"/>
                  </a:cubicBezTo>
                  <a:cubicBezTo>
                    <a:pt x="131" y="193"/>
                    <a:pt x="131" y="193"/>
                    <a:pt x="131" y="193"/>
                  </a:cubicBezTo>
                  <a:cubicBezTo>
                    <a:pt x="131" y="193"/>
                    <a:pt x="131" y="193"/>
                    <a:pt x="131" y="194"/>
                  </a:cubicBezTo>
                  <a:cubicBezTo>
                    <a:pt x="131" y="194"/>
                    <a:pt x="131" y="194"/>
                    <a:pt x="131" y="194"/>
                  </a:cubicBezTo>
                  <a:cubicBezTo>
                    <a:pt x="131" y="194"/>
                    <a:pt x="131" y="194"/>
                    <a:pt x="131" y="194"/>
                  </a:cubicBezTo>
                  <a:cubicBezTo>
                    <a:pt x="131" y="194"/>
                    <a:pt x="131" y="194"/>
                    <a:pt x="131" y="194"/>
                  </a:cubicBezTo>
                  <a:cubicBezTo>
                    <a:pt x="131" y="193"/>
                    <a:pt x="131" y="193"/>
                    <a:pt x="131" y="193"/>
                  </a:cubicBezTo>
                  <a:cubicBezTo>
                    <a:pt x="131" y="193"/>
                    <a:pt x="132" y="192"/>
                    <a:pt x="132" y="192"/>
                  </a:cubicBezTo>
                  <a:cubicBezTo>
                    <a:pt x="132" y="192"/>
                    <a:pt x="132" y="191"/>
                    <a:pt x="132" y="191"/>
                  </a:cubicBezTo>
                  <a:cubicBezTo>
                    <a:pt x="132" y="191"/>
                    <a:pt x="132" y="190"/>
                    <a:pt x="132" y="190"/>
                  </a:cubicBezTo>
                  <a:cubicBezTo>
                    <a:pt x="122" y="173"/>
                    <a:pt x="77" y="107"/>
                    <a:pt x="40" y="105"/>
                  </a:cubicBezTo>
                  <a:cubicBezTo>
                    <a:pt x="0" y="104"/>
                    <a:pt x="22" y="59"/>
                    <a:pt x="64" y="10"/>
                  </a:cubicBezTo>
                  <a:cubicBezTo>
                    <a:pt x="64" y="10"/>
                    <a:pt x="64" y="9"/>
                    <a:pt x="64" y="9"/>
                  </a:cubicBezTo>
                  <a:cubicBezTo>
                    <a:pt x="65" y="7"/>
                    <a:pt x="66" y="5"/>
                    <a:pt x="67" y="3"/>
                  </a:cubicBezTo>
                  <a:cubicBezTo>
                    <a:pt x="68" y="1"/>
                    <a:pt x="68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iśḻíďe">
              <a:extLst>
                <a:ext uri="{FF2B5EF4-FFF2-40B4-BE49-F238E27FC236}">
                  <a16:creationId xmlns:a16="http://schemas.microsoft.com/office/drawing/2014/main" id="{62D77AF4-60E7-4308-8DA5-FD7D1973A8E2}"/>
                </a:ext>
              </a:extLst>
            </p:cNvPr>
            <p:cNvSpPr/>
            <p:nvPr/>
          </p:nvSpPr>
          <p:spPr bwMode="auto">
            <a:xfrm>
              <a:off x="8016875" y="4716463"/>
              <a:ext cx="7938" cy="42863"/>
            </a:xfrm>
            <a:custGeom>
              <a:avLst/>
              <a:gdLst>
                <a:gd name="T0" fmla="*/ 0 w 6"/>
                <a:gd name="T1" fmla="*/ 11 h 31"/>
                <a:gd name="T2" fmla="*/ 3 w 6"/>
                <a:gd name="T3" fmla="*/ 31 h 31"/>
                <a:gd name="T4" fmla="*/ 6 w 6"/>
                <a:gd name="T5" fmla="*/ 11 h 31"/>
                <a:gd name="T6" fmla="*/ 3 w 6"/>
                <a:gd name="T7" fmla="*/ 5 h 31"/>
                <a:gd name="T8" fmla="*/ 0 w 6"/>
                <a:gd name="T9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1">
                  <a:moveTo>
                    <a:pt x="0" y="11"/>
                  </a:moveTo>
                  <a:cubicBezTo>
                    <a:pt x="0" y="22"/>
                    <a:pt x="2" y="31"/>
                    <a:pt x="3" y="31"/>
                  </a:cubicBezTo>
                  <a:cubicBezTo>
                    <a:pt x="5" y="31"/>
                    <a:pt x="6" y="22"/>
                    <a:pt x="6" y="11"/>
                  </a:cubicBezTo>
                  <a:cubicBezTo>
                    <a:pt x="6" y="0"/>
                    <a:pt x="4" y="5"/>
                    <a:pt x="3" y="5"/>
                  </a:cubicBezTo>
                  <a:cubicBezTo>
                    <a:pt x="1" y="5"/>
                    <a:pt x="0" y="0"/>
                    <a:pt x="0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ïṣľïḍê">
              <a:extLst>
                <a:ext uri="{FF2B5EF4-FFF2-40B4-BE49-F238E27FC236}">
                  <a16:creationId xmlns:a16="http://schemas.microsoft.com/office/drawing/2014/main" id="{27D9E730-9C17-45C4-BD26-76C84152FB74}"/>
                </a:ext>
              </a:extLst>
            </p:cNvPr>
            <p:cNvSpPr/>
            <p:nvPr/>
          </p:nvSpPr>
          <p:spPr bwMode="auto">
            <a:xfrm>
              <a:off x="7981950" y="4735513"/>
              <a:ext cx="39688" cy="25400"/>
            </a:xfrm>
            <a:custGeom>
              <a:avLst/>
              <a:gdLst>
                <a:gd name="T0" fmla="*/ 10 w 29"/>
                <a:gd name="T1" fmla="*/ 11 h 19"/>
                <a:gd name="T2" fmla="*/ 29 w 29"/>
                <a:gd name="T3" fmla="*/ 18 h 19"/>
                <a:gd name="T4" fmla="*/ 13 w 29"/>
                <a:gd name="T5" fmla="*/ 6 h 19"/>
                <a:gd name="T6" fmla="*/ 6 w 29"/>
                <a:gd name="T7" fmla="*/ 6 h 19"/>
                <a:gd name="T8" fmla="*/ 10 w 29"/>
                <a:gd name="T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10" y="11"/>
                  </a:moveTo>
                  <a:cubicBezTo>
                    <a:pt x="20" y="16"/>
                    <a:pt x="28" y="19"/>
                    <a:pt x="29" y="18"/>
                  </a:cubicBezTo>
                  <a:cubicBezTo>
                    <a:pt x="29" y="17"/>
                    <a:pt x="22" y="11"/>
                    <a:pt x="13" y="6"/>
                  </a:cubicBezTo>
                  <a:cubicBezTo>
                    <a:pt x="3" y="0"/>
                    <a:pt x="7" y="4"/>
                    <a:pt x="6" y="6"/>
                  </a:cubicBezTo>
                  <a:cubicBezTo>
                    <a:pt x="5" y="7"/>
                    <a:pt x="0" y="6"/>
                    <a:pt x="10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ïsḷïḍe">
              <a:extLst>
                <a:ext uri="{FF2B5EF4-FFF2-40B4-BE49-F238E27FC236}">
                  <a16:creationId xmlns:a16="http://schemas.microsoft.com/office/drawing/2014/main" id="{0F7BCCBA-FE66-4299-A9DE-F691A217B6AB}"/>
                </a:ext>
              </a:extLst>
            </p:cNvPr>
            <p:cNvSpPr/>
            <p:nvPr/>
          </p:nvSpPr>
          <p:spPr bwMode="auto">
            <a:xfrm>
              <a:off x="7986713" y="4865688"/>
              <a:ext cx="355600" cy="354013"/>
            </a:xfrm>
            <a:custGeom>
              <a:avLst/>
              <a:gdLst>
                <a:gd name="T0" fmla="*/ 257 w 258"/>
                <a:gd name="T1" fmla="*/ 15 h 257"/>
                <a:gd name="T2" fmla="*/ 255 w 258"/>
                <a:gd name="T3" fmla="*/ 25 h 257"/>
                <a:gd name="T4" fmla="*/ 254 w 258"/>
                <a:gd name="T5" fmla="*/ 38 h 257"/>
                <a:gd name="T6" fmla="*/ 253 w 258"/>
                <a:gd name="T7" fmla="*/ 44 h 257"/>
                <a:gd name="T8" fmla="*/ 251 w 258"/>
                <a:gd name="T9" fmla="*/ 58 h 257"/>
                <a:gd name="T10" fmla="*/ 251 w 258"/>
                <a:gd name="T11" fmla="*/ 63 h 257"/>
                <a:gd name="T12" fmla="*/ 249 w 258"/>
                <a:gd name="T13" fmla="*/ 77 h 257"/>
                <a:gd name="T14" fmla="*/ 230 w 258"/>
                <a:gd name="T15" fmla="*/ 233 h 257"/>
                <a:gd name="T16" fmla="*/ 178 w 258"/>
                <a:gd name="T17" fmla="*/ 257 h 257"/>
                <a:gd name="T18" fmla="*/ 80 w 258"/>
                <a:gd name="T19" fmla="*/ 257 h 257"/>
                <a:gd name="T20" fmla="*/ 28 w 258"/>
                <a:gd name="T21" fmla="*/ 233 h 257"/>
                <a:gd name="T22" fmla="*/ 9 w 258"/>
                <a:gd name="T23" fmla="*/ 77 h 257"/>
                <a:gd name="T24" fmla="*/ 7 w 258"/>
                <a:gd name="T25" fmla="*/ 63 h 257"/>
                <a:gd name="T26" fmla="*/ 7 w 258"/>
                <a:gd name="T27" fmla="*/ 58 h 257"/>
                <a:gd name="T28" fmla="*/ 5 w 258"/>
                <a:gd name="T29" fmla="*/ 44 h 257"/>
                <a:gd name="T30" fmla="*/ 4 w 258"/>
                <a:gd name="T31" fmla="*/ 38 h 257"/>
                <a:gd name="T32" fmla="*/ 2 w 258"/>
                <a:gd name="T33" fmla="*/ 25 h 257"/>
                <a:gd name="T34" fmla="*/ 1 w 258"/>
                <a:gd name="T35" fmla="*/ 15 h 257"/>
                <a:gd name="T36" fmla="*/ 28 w 258"/>
                <a:gd name="T37" fmla="*/ 0 h 257"/>
                <a:gd name="T38" fmla="*/ 230 w 258"/>
                <a:gd name="T39" fmla="*/ 0 h 257"/>
                <a:gd name="T40" fmla="*/ 257 w 258"/>
                <a:gd name="T41" fmla="*/ 15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57">
                  <a:moveTo>
                    <a:pt x="257" y="15"/>
                  </a:moveTo>
                  <a:cubicBezTo>
                    <a:pt x="255" y="25"/>
                    <a:pt x="255" y="25"/>
                    <a:pt x="255" y="25"/>
                  </a:cubicBezTo>
                  <a:cubicBezTo>
                    <a:pt x="254" y="38"/>
                    <a:pt x="254" y="38"/>
                    <a:pt x="254" y="38"/>
                  </a:cubicBezTo>
                  <a:cubicBezTo>
                    <a:pt x="253" y="44"/>
                    <a:pt x="253" y="44"/>
                    <a:pt x="253" y="44"/>
                  </a:cubicBezTo>
                  <a:cubicBezTo>
                    <a:pt x="251" y="58"/>
                    <a:pt x="251" y="58"/>
                    <a:pt x="251" y="58"/>
                  </a:cubicBezTo>
                  <a:cubicBezTo>
                    <a:pt x="251" y="63"/>
                    <a:pt x="251" y="63"/>
                    <a:pt x="251" y="63"/>
                  </a:cubicBezTo>
                  <a:cubicBezTo>
                    <a:pt x="249" y="77"/>
                    <a:pt x="249" y="77"/>
                    <a:pt x="249" y="77"/>
                  </a:cubicBezTo>
                  <a:cubicBezTo>
                    <a:pt x="230" y="233"/>
                    <a:pt x="230" y="233"/>
                    <a:pt x="230" y="233"/>
                  </a:cubicBezTo>
                  <a:cubicBezTo>
                    <a:pt x="228" y="246"/>
                    <a:pt x="206" y="257"/>
                    <a:pt x="178" y="257"/>
                  </a:cubicBezTo>
                  <a:cubicBezTo>
                    <a:pt x="80" y="257"/>
                    <a:pt x="80" y="257"/>
                    <a:pt x="80" y="257"/>
                  </a:cubicBezTo>
                  <a:cubicBezTo>
                    <a:pt x="52" y="257"/>
                    <a:pt x="30" y="246"/>
                    <a:pt x="28" y="233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7"/>
                    <a:pt x="13" y="0"/>
                    <a:pt x="28" y="0"/>
                  </a:cubicBezTo>
                  <a:cubicBezTo>
                    <a:pt x="230" y="0"/>
                    <a:pt x="230" y="0"/>
                    <a:pt x="230" y="0"/>
                  </a:cubicBezTo>
                  <a:cubicBezTo>
                    <a:pt x="245" y="0"/>
                    <a:pt x="258" y="7"/>
                    <a:pt x="257" y="15"/>
                  </a:cubicBezTo>
                  <a:close/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îşḻïdè">
              <a:extLst>
                <a:ext uri="{FF2B5EF4-FFF2-40B4-BE49-F238E27FC236}">
                  <a16:creationId xmlns:a16="http://schemas.microsoft.com/office/drawing/2014/main" id="{C9C789BE-5E8C-4F62-B101-FAE317EA8650}"/>
                </a:ext>
              </a:extLst>
            </p:cNvPr>
            <p:cNvSpPr/>
            <p:nvPr/>
          </p:nvSpPr>
          <p:spPr bwMode="auto">
            <a:xfrm>
              <a:off x="7989888" y="4900613"/>
              <a:ext cx="347663" cy="17463"/>
            </a:xfrm>
            <a:custGeom>
              <a:avLst/>
              <a:gdLst>
                <a:gd name="T0" fmla="*/ 219 w 219"/>
                <a:gd name="T1" fmla="*/ 0 h 11"/>
                <a:gd name="T2" fmla="*/ 218 w 219"/>
                <a:gd name="T3" fmla="*/ 11 h 11"/>
                <a:gd name="T4" fmla="*/ 1 w 219"/>
                <a:gd name="T5" fmla="*/ 11 h 11"/>
                <a:gd name="T6" fmla="*/ 0 w 219"/>
                <a:gd name="T7" fmla="*/ 0 h 11"/>
                <a:gd name="T8" fmla="*/ 219 w 21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11">
                  <a:moveTo>
                    <a:pt x="219" y="0"/>
                  </a:moveTo>
                  <a:lnTo>
                    <a:pt x="218" y="11"/>
                  </a:lnTo>
                  <a:lnTo>
                    <a:pt x="1" y="11"/>
                  </a:lnTo>
                  <a:lnTo>
                    <a:pt x="0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ṩļíḓè">
              <a:extLst>
                <a:ext uri="{FF2B5EF4-FFF2-40B4-BE49-F238E27FC236}">
                  <a16:creationId xmlns:a16="http://schemas.microsoft.com/office/drawing/2014/main" id="{30F22F50-53B8-46AC-AAD5-871CB6010C69}"/>
                </a:ext>
              </a:extLst>
            </p:cNvPr>
            <p:cNvSpPr/>
            <p:nvPr/>
          </p:nvSpPr>
          <p:spPr bwMode="auto">
            <a:xfrm>
              <a:off x="7993063" y="4926013"/>
              <a:ext cx="341313" cy="19050"/>
            </a:xfrm>
            <a:custGeom>
              <a:avLst/>
              <a:gdLst>
                <a:gd name="T0" fmla="*/ 215 w 215"/>
                <a:gd name="T1" fmla="*/ 0 h 12"/>
                <a:gd name="T2" fmla="*/ 214 w 215"/>
                <a:gd name="T3" fmla="*/ 12 h 12"/>
                <a:gd name="T4" fmla="*/ 2 w 215"/>
                <a:gd name="T5" fmla="*/ 12 h 12"/>
                <a:gd name="T6" fmla="*/ 0 w 215"/>
                <a:gd name="T7" fmla="*/ 0 h 12"/>
                <a:gd name="T8" fmla="*/ 215 w 21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2">
                  <a:moveTo>
                    <a:pt x="215" y="0"/>
                  </a:moveTo>
                  <a:lnTo>
                    <a:pt x="214" y="12"/>
                  </a:lnTo>
                  <a:lnTo>
                    <a:pt x="2" y="12"/>
                  </a:lnTo>
                  <a:lnTo>
                    <a:pt x="0" y="0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ṩ1íḓé">
              <a:extLst>
                <a:ext uri="{FF2B5EF4-FFF2-40B4-BE49-F238E27FC236}">
                  <a16:creationId xmlns:a16="http://schemas.microsoft.com/office/drawing/2014/main" id="{A4207C2B-A057-408D-B84C-110DA93FC8CA}"/>
                </a:ext>
              </a:extLst>
            </p:cNvPr>
            <p:cNvSpPr/>
            <p:nvPr/>
          </p:nvSpPr>
          <p:spPr bwMode="auto">
            <a:xfrm>
              <a:off x="7996238" y="4953000"/>
              <a:ext cx="336550" cy="19050"/>
            </a:xfrm>
            <a:custGeom>
              <a:avLst/>
              <a:gdLst>
                <a:gd name="T0" fmla="*/ 212 w 212"/>
                <a:gd name="T1" fmla="*/ 0 h 12"/>
                <a:gd name="T2" fmla="*/ 210 w 212"/>
                <a:gd name="T3" fmla="*/ 12 h 12"/>
                <a:gd name="T4" fmla="*/ 2 w 212"/>
                <a:gd name="T5" fmla="*/ 12 h 12"/>
                <a:gd name="T6" fmla="*/ 0 w 212"/>
                <a:gd name="T7" fmla="*/ 0 h 12"/>
                <a:gd name="T8" fmla="*/ 212 w 2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12">
                  <a:moveTo>
                    <a:pt x="212" y="0"/>
                  </a:moveTo>
                  <a:lnTo>
                    <a:pt x="210" y="12"/>
                  </a:lnTo>
                  <a:lnTo>
                    <a:pt x="2" y="12"/>
                  </a:lnTo>
                  <a:lnTo>
                    <a:pt x="0" y="0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25776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da7567e-f007-49a0-93f6-7e8c1b04ebb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9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4f4c28d2-4455-4e6f-b51e-77feae9f089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934f9cb-a107-408b-b58f-1798fbee084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1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6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1030"/>
      </a:accent1>
      <a:accent2>
        <a:srgbClr val="5EB9FF"/>
      </a:accent2>
      <a:accent3>
        <a:srgbClr val="9FCEEE"/>
      </a:accent3>
      <a:accent4>
        <a:srgbClr val="9FD4DE"/>
      </a:accent4>
      <a:accent5>
        <a:srgbClr val="333A73"/>
      </a:accent5>
      <a:accent6>
        <a:srgbClr val="CB4343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0</TotalTime>
  <Words>1446</Words>
  <Application>Microsoft Office PowerPoint</Application>
  <PresentationFormat>宽屏</PresentationFormat>
  <Paragraphs>154</Paragraphs>
  <Slides>18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4" baseType="lpstr">
      <vt:lpstr>宋体</vt:lpstr>
      <vt:lpstr>微软雅黑</vt:lpstr>
      <vt:lpstr>Arial</vt:lpstr>
      <vt:lpstr>Calibri</vt:lpstr>
      <vt:lpstr>主题5</vt:lpstr>
      <vt:lpstr>think-cell Slide</vt:lpstr>
      <vt:lpstr>数据库管理系统</vt:lpstr>
      <vt:lpstr>PowerPoint 演示文稿</vt:lpstr>
      <vt:lpstr>PowerPoint 演示文稿</vt:lpstr>
      <vt:lpstr>项目简介</vt:lpstr>
      <vt:lpstr>项目简介</vt:lpstr>
      <vt:lpstr>项目设计</vt:lpstr>
      <vt:lpstr>技术说明</vt:lpstr>
      <vt:lpstr>测试驱动开发（TDD）</vt:lpstr>
      <vt:lpstr>伪MVVM数据绑定、渲染与XAML</vt:lpstr>
      <vt:lpstr>解析器、执行器设计与正则表达式</vt:lpstr>
      <vt:lpstr>拓展方法、LINQ与函数式编程</vt:lpstr>
      <vt:lpstr>系统功能（Demo）</vt:lpstr>
      <vt:lpstr>项目总结</vt:lpstr>
      <vt:lpstr>PowerPoint 演示文稿</vt:lpstr>
      <vt:lpstr>感谢聆听</vt:lpstr>
      <vt:lpstr>PowerPoint 演示文稿</vt:lpstr>
      <vt:lpstr>快速设计页面  Quick design slides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ube Lrti</cp:lastModifiedBy>
  <cp:revision>8</cp:revision>
  <cp:lastPrinted>2018-09-13T16:00:00Z</cp:lastPrinted>
  <dcterms:created xsi:type="dcterms:W3CDTF">2018-09-13T16:00:00Z</dcterms:created>
  <dcterms:modified xsi:type="dcterms:W3CDTF">2018-11-25T09:4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